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682" r:id="rId5"/>
    <p:sldMasterId id="2147483704" r:id="rId6"/>
  </p:sldMasterIdLst>
  <p:notesMasterIdLst>
    <p:notesMasterId r:id="rId27"/>
  </p:notesMasterIdLst>
  <p:sldIdLst>
    <p:sldId id="277" r:id="rId7"/>
    <p:sldId id="3585" r:id="rId8"/>
    <p:sldId id="257" r:id="rId9"/>
    <p:sldId id="3586" r:id="rId10"/>
    <p:sldId id="3593" r:id="rId11"/>
    <p:sldId id="3603" r:id="rId12"/>
    <p:sldId id="3599" r:id="rId13"/>
    <p:sldId id="3600" r:id="rId14"/>
    <p:sldId id="3594" r:id="rId15"/>
    <p:sldId id="3595" r:id="rId16"/>
    <p:sldId id="3611" r:id="rId17"/>
    <p:sldId id="3604" r:id="rId18"/>
    <p:sldId id="3597" r:id="rId19"/>
    <p:sldId id="3605" r:id="rId20"/>
    <p:sldId id="3606" r:id="rId21"/>
    <p:sldId id="3607" r:id="rId22"/>
    <p:sldId id="3608" r:id="rId23"/>
    <p:sldId id="3609" r:id="rId24"/>
    <p:sldId id="3610" r:id="rId25"/>
    <p:sldId id="3602"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55B3E00-E4D3-5FEF-C739-98CB22C3FAC6}" name="Laracuente, Antonio J" initials="LAJ" userId="S::Antonio.Laracuente03@va.gov::f26025aa-017e-46da-97dd-4f9d498fb15b" providerId="AD"/>
  <p188:author id="{77409A2F-143E-B6BD-061A-2370AC2D1378}" name="Jeans, C. Karen" initials="JK" userId="S::c.karen.jeans@va.gov::00c3bc53-3dd4-4359-9a71-7f90200e3ef0" providerId="AD"/>
  <p188:author id="{66EC395F-2F34-6066-C7E3-BAC20BAC8DD2}" name="Tenhula, Wendy" initials="TW" userId="S::wendy.tenhula@va.gov::2516237c-d134-48ae-980f-0c75f510b772" providerId="AD"/>
  <p188:author id="{64E93262-8E67-8201-43B0-18E4C81CE750}" name="Laracuente, Antonio J" initials="LJ" userId="S::antonio.laracuente03@va.gov::f26025aa-017e-46da-97dd-4f9d498fb15b" providerId="AD"/>
  <p188:author id="{5CCF2492-F4B9-E761-4348-9FA045F02986}" name="Britt, Christopher (OGC)" initials="B(" userId="S::christopher.britt@va.gov::5fa82587-9b24-4a8a-aded-5e659692449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2A9A03-2512-4792-AED4-819157C6355B}" v="1" dt="2023-12-19T14:16:20.653"/>
    <p1510:client id="{CF807ABE-46DF-2E80-4928-656090181430}" v="20" dt="2023-12-19T15:51:36.43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8/10/relationships/authors" Targe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gela Foster" userId="29524050-54a8-4308-8bd1-10d67264d500" providerId="ADAL" clId="{3626CAB9-597C-430F-8749-658062E926DB}"/>
    <pc:docChg chg="custSel addSld modSld">
      <pc:chgData name="Angela Foster" userId="29524050-54a8-4308-8bd1-10d67264d500" providerId="ADAL" clId="{3626CAB9-597C-430F-8749-658062E926DB}" dt="2023-12-18T14:21:55.241" v="123" actId="478"/>
      <pc:docMkLst>
        <pc:docMk/>
      </pc:docMkLst>
      <pc:sldChg chg="addSp delSp modSp mod">
        <pc:chgData name="Angela Foster" userId="29524050-54a8-4308-8bd1-10d67264d500" providerId="ADAL" clId="{3626CAB9-597C-430F-8749-658062E926DB}" dt="2023-12-18T14:09:49.916" v="37" actId="1037"/>
        <pc:sldMkLst>
          <pc:docMk/>
          <pc:sldMk cId="1664200620" sldId="3607"/>
        </pc:sldMkLst>
        <pc:spChg chg="add mod">
          <ac:chgData name="Angela Foster" userId="29524050-54a8-4308-8bd1-10d67264d500" providerId="ADAL" clId="{3626CAB9-597C-430F-8749-658062E926DB}" dt="2023-12-18T14:08:16.736" v="21" actId="14100"/>
          <ac:spMkLst>
            <pc:docMk/>
            <pc:sldMk cId="1664200620" sldId="3607"/>
            <ac:spMk id="14" creationId="{3FE764B0-8F89-7780-115D-41CB55018E7B}"/>
          </ac:spMkLst>
        </pc:spChg>
        <pc:spChg chg="add mod">
          <ac:chgData name="Angela Foster" userId="29524050-54a8-4308-8bd1-10d67264d500" providerId="ADAL" clId="{3626CAB9-597C-430F-8749-658062E926DB}" dt="2023-12-18T14:08:38.944" v="26" actId="14100"/>
          <ac:spMkLst>
            <pc:docMk/>
            <pc:sldMk cId="1664200620" sldId="3607"/>
            <ac:spMk id="15" creationId="{0E0E5E56-857B-07FF-2F31-4EB6D246CDC0}"/>
          </ac:spMkLst>
        </pc:spChg>
        <pc:spChg chg="add mod">
          <ac:chgData name="Angela Foster" userId="29524050-54a8-4308-8bd1-10d67264d500" providerId="ADAL" clId="{3626CAB9-597C-430F-8749-658062E926DB}" dt="2023-12-18T14:09:15.554" v="29" actId="207"/>
          <ac:spMkLst>
            <pc:docMk/>
            <pc:sldMk cId="1664200620" sldId="3607"/>
            <ac:spMk id="17" creationId="{A9DF695D-E822-D21F-5DD5-3C409B2ED361}"/>
          </ac:spMkLst>
        </pc:spChg>
        <pc:spChg chg="add mod">
          <ac:chgData name="Angela Foster" userId="29524050-54a8-4308-8bd1-10d67264d500" providerId="ADAL" clId="{3626CAB9-597C-430F-8749-658062E926DB}" dt="2023-12-18T14:09:49.916" v="37" actId="1037"/>
          <ac:spMkLst>
            <pc:docMk/>
            <pc:sldMk cId="1664200620" sldId="3607"/>
            <ac:spMk id="18" creationId="{C479C176-5CE6-A890-7C32-20099C20BBDE}"/>
          </ac:spMkLst>
        </pc:spChg>
        <pc:picChg chg="mod">
          <ac:chgData name="Angela Foster" userId="29524050-54a8-4308-8bd1-10d67264d500" providerId="ADAL" clId="{3626CAB9-597C-430F-8749-658062E926DB}" dt="2023-12-18T14:07:10.695" v="10" actId="1076"/>
          <ac:picMkLst>
            <pc:docMk/>
            <pc:sldMk cId="1664200620" sldId="3607"/>
            <ac:picMk id="5" creationId="{3DA1AAF2-C89C-8720-B097-82BC93B06D4A}"/>
          </ac:picMkLst>
        </pc:picChg>
        <pc:picChg chg="add mod ord">
          <ac:chgData name="Angela Foster" userId="29524050-54a8-4308-8bd1-10d67264d500" providerId="ADAL" clId="{3626CAB9-597C-430F-8749-658062E926DB}" dt="2023-12-18T14:07:31.058" v="16" actId="1035"/>
          <ac:picMkLst>
            <pc:docMk/>
            <pc:sldMk cId="1664200620" sldId="3607"/>
            <ac:picMk id="9" creationId="{EF75A20B-1FDD-1017-3214-791E94C75DB9}"/>
          </ac:picMkLst>
        </pc:picChg>
        <pc:cxnChg chg="mod">
          <ac:chgData name="Angela Foster" userId="29524050-54a8-4308-8bd1-10d67264d500" providerId="ADAL" clId="{3626CAB9-597C-430F-8749-658062E926DB}" dt="2023-12-18T14:08:33.633" v="25" actId="14100"/>
          <ac:cxnSpMkLst>
            <pc:docMk/>
            <pc:sldMk cId="1664200620" sldId="3607"/>
            <ac:cxnSpMk id="6" creationId="{988EDE1B-E82C-EBA8-D486-374F4D9E2144}"/>
          </ac:cxnSpMkLst>
        </pc:cxnChg>
        <pc:cxnChg chg="del mod">
          <ac:chgData name="Angela Foster" userId="29524050-54a8-4308-8bd1-10d67264d500" providerId="ADAL" clId="{3626CAB9-597C-430F-8749-658062E926DB}" dt="2023-12-18T14:07:36.881" v="17" actId="478"/>
          <ac:cxnSpMkLst>
            <pc:docMk/>
            <pc:sldMk cId="1664200620" sldId="3607"/>
            <ac:cxnSpMk id="7" creationId="{7E9FD054-AF24-4AB1-395A-688BCF849676}"/>
          </ac:cxnSpMkLst>
        </pc:cxnChg>
      </pc:sldChg>
      <pc:sldChg chg="addSp delSp modSp new mod">
        <pc:chgData name="Angela Foster" userId="29524050-54a8-4308-8bd1-10d67264d500" providerId="ADAL" clId="{3626CAB9-597C-430F-8749-658062E926DB}" dt="2023-12-18T14:13:11.019" v="75" actId="1582"/>
        <pc:sldMkLst>
          <pc:docMk/>
          <pc:sldMk cId="4277634735" sldId="3608"/>
        </pc:sldMkLst>
        <pc:spChg chg="mod">
          <ac:chgData name="Angela Foster" userId="29524050-54a8-4308-8bd1-10d67264d500" providerId="ADAL" clId="{3626CAB9-597C-430F-8749-658062E926DB}" dt="2023-12-18T14:12:21.671" v="65" actId="20577"/>
          <ac:spMkLst>
            <pc:docMk/>
            <pc:sldMk cId="4277634735" sldId="3608"/>
            <ac:spMk id="2" creationId="{ECB18B1C-0DEE-49D5-7B3F-5CF8A819C4ED}"/>
          </ac:spMkLst>
        </pc:spChg>
        <pc:spChg chg="del">
          <ac:chgData name="Angela Foster" userId="29524050-54a8-4308-8bd1-10d67264d500" providerId="ADAL" clId="{3626CAB9-597C-430F-8749-658062E926DB}" dt="2023-12-18T14:12:26.741" v="66" actId="22"/>
          <ac:spMkLst>
            <pc:docMk/>
            <pc:sldMk cId="4277634735" sldId="3608"/>
            <ac:spMk id="3" creationId="{AAA6D4DB-2708-2A73-782D-CBCBC523A440}"/>
          </ac:spMkLst>
        </pc:spChg>
        <pc:spChg chg="add mod">
          <ac:chgData name="Angela Foster" userId="29524050-54a8-4308-8bd1-10d67264d500" providerId="ADAL" clId="{3626CAB9-597C-430F-8749-658062E926DB}" dt="2023-12-18T14:13:11.019" v="75" actId="1582"/>
          <ac:spMkLst>
            <pc:docMk/>
            <pc:sldMk cId="4277634735" sldId="3608"/>
            <ac:spMk id="7" creationId="{409B45CF-9E6C-3921-A61A-F746AF694934}"/>
          </ac:spMkLst>
        </pc:spChg>
        <pc:picChg chg="add mod ord">
          <ac:chgData name="Angela Foster" userId="29524050-54a8-4308-8bd1-10d67264d500" providerId="ADAL" clId="{3626CAB9-597C-430F-8749-658062E926DB}" dt="2023-12-18T14:12:40.323" v="69" actId="1076"/>
          <ac:picMkLst>
            <pc:docMk/>
            <pc:sldMk cId="4277634735" sldId="3608"/>
            <ac:picMk id="6" creationId="{CEE81E09-8962-A3E8-101C-7DB65F3A7425}"/>
          </ac:picMkLst>
        </pc:picChg>
      </pc:sldChg>
      <pc:sldChg chg="addSp delSp modSp new mod">
        <pc:chgData name="Angela Foster" userId="29524050-54a8-4308-8bd1-10d67264d500" providerId="ADAL" clId="{3626CAB9-597C-430F-8749-658062E926DB}" dt="2023-12-18T14:21:50.930" v="122" actId="478"/>
        <pc:sldMkLst>
          <pc:docMk/>
          <pc:sldMk cId="1793579207" sldId="3609"/>
        </pc:sldMkLst>
        <pc:spChg chg="mod">
          <ac:chgData name="Angela Foster" userId="29524050-54a8-4308-8bd1-10d67264d500" providerId="ADAL" clId="{3626CAB9-597C-430F-8749-658062E926DB}" dt="2023-12-18T14:16:11.721" v="99" actId="20577"/>
          <ac:spMkLst>
            <pc:docMk/>
            <pc:sldMk cId="1793579207" sldId="3609"/>
            <ac:spMk id="2" creationId="{8887E476-E8E4-3C14-71E6-5EF458EAD2D8}"/>
          </ac:spMkLst>
        </pc:spChg>
        <pc:spChg chg="del">
          <ac:chgData name="Angela Foster" userId="29524050-54a8-4308-8bd1-10d67264d500" providerId="ADAL" clId="{3626CAB9-597C-430F-8749-658062E926DB}" dt="2023-12-18T14:21:50.930" v="122" actId="478"/>
          <ac:spMkLst>
            <pc:docMk/>
            <pc:sldMk cId="1793579207" sldId="3609"/>
            <ac:spMk id="3" creationId="{C46E284B-0C14-76C0-5D9D-8478EBC1E5FB}"/>
          </ac:spMkLst>
        </pc:spChg>
        <pc:spChg chg="add mod">
          <ac:chgData name="Angela Foster" userId="29524050-54a8-4308-8bd1-10d67264d500" providerId="ADAL" clId="{3626CAB9-597C-430F-8749-658062E926DB}" dt="2023-12-18T14:16:56.224" v="109" actId="14100"/>
          <ac:spMkLst>
            <pc:docMk/>
            <pc:sldMk cId="1793579207" sldId="3609"/>
            <ac:spMk id="8" creationId="{C2E605DE-5BE6-717B-D9E2-3AFA41BBB277}"/>
          </ac:spMkLst>
        </pc:spChg>
        <pc:picChg chg="add mod">
          <ac:chgData name="Angela Foster" userId="29524050-54a8-4308-8bd1-10d67264d500" providerId="ADAL" clId="{3626CAB9-597C-430F-8749-658062E926DB}" dt="2023-12-18T14:16:23.750" v="103" actId="1076"/>
          <ac:picMkLst>
            <pc:docMk/>
            <pc:sldMk cId="1793579207" sldId="3609"/>
            <ac:picMk id="6" creationId="{0D4B849F-A40E-4617-F28D-E61EFDAE7C7A}"/>
          </ac:picMkLst>
        </pc:picChg>
        <pc:picChg chg="add del mod">
          <ac:chgData name="Angela Foster" userId="29524050-54a8-4308-8bd1-10d67264d500" providerId="ADAL" clId="{3626CAB9-597C-430F-8749-658062E926DB}" dt="2023-12-18T14:16:37.451" v="105" actId="478"/>
          <ac:picMkLst>
            <pc:docMk/>
            <pc:sldMk cId="1793579207" sldId="3609"/>
            <ac:picMk id="7" creationId="{31AC336D-C578-02F1-A89C-65451CC86549}"/>
          </ac:picMkLst>
        </pc:picChg>
      </pc:sldChg>
      <pc:sldChg chg="delSp modSp add mod">
        <pc:chgData name="Angela Foster" userId="29524050-54a8-4308-8bd1-10d67264d500" providerId="ADAL" clId="{3626CAB9-597C-430F-8749-658062E926DB}" dt="2023-12-18T14:21:55.241" v="123" actId="478"/>
        <pc:sldMkLst>
          <pc:docMk/>
          <pc:sldMk cId="3021076531" sldId="3610"/>
        </pc:sldMkLst>
        <pc:spChg chg="mod">
          <ac:chgData name="Angela Foster" userId="29524050-54a8-4308-8bd1-10d67264d500" providerId="ADAL" clId="{3626CAB9-597C-430F-8749-658062E926DB}" dt="2023-12-18T14:17:20.707" v="112" actId="20577"/>
          <ac:spMkLst>
            <pc:docMk/>
            <pc:sldMk cId="3021076531" sldId="3610"/>
            <ac:spMk id="2" creationId="{8887E476-E8E4-3C14-71E6-5EF458EAD2D8}"/>
          </ac:spMkLst>
        </pc:spChg>
        <pc:spChg chg="del">
          <ac:chgData name="Angela Foster" userId="29524050-54a8-4308-8bd1-10d67264d500" providerId="ADAL" clId="{3626CAB9-597C-430F-8749-658062E926DB}" dt="2023-12-18T14:21:55.241" v="123" actId="478"/>
          <ac:spMkLst>
            <pc:docMk/>
            <pc:sldMk cId="3021076531" sldId="3610"/>
            <ac:spMk id="3" creationId="{C46E284B-0C14-76C0-5D9D-8478EBC1E5FB}"/>
          </ac:spMkLst>
        </pc:spChg>
        <pc:spChg chg="mod ord">
          <ac:chgData name="Angela Foster" userId="29524050-54a8-4308-8bd1-10d67264d500" providerId="ADAL" clId="{3626CAB9-597C-430F-8749-658062E926DB}" dt="2023-12-18T14:20:36.709" v="121" actId="14100"/>
          <ac:spMkLst>
            <pc:docMk/>
            <pc:sldMk cId="3021076531" sldId="3610"/>
            <ac:spMk id="8" creationId="{C2E605DE-5BE6-717B-D9E2-3AFA41BBB277}"/>
          </ac:spMkLst>
        </pc:spChg>
        <pc:picChg chg="mod">
          <ac:chgData name="Angela Foster" userId="29524050-54a8-4308-8bd1-10d67264d500" providerId="ADAL" clId="{3626CAB9-597C-430F-8749-658062E926DB}" dt="2023-12-18T14:20:15.972" v="117" actId="1076"/>
          <ac:picMkLst>
            <pc:docMk/>
            <pc:sldMk cId="3021076531" sldId="3610"/>
            <ac:picMk id="6" creationId="{0D4B849F-A40E-4617-F28D-E61EFDAE7C7A}"/>
          </ac:picMkLst>
        </pc:picChg>
      </pc:sldChg>
    </pc:docChg>
  </pc:docChgLst>
  <pc:docChgLst>
    <pc:chgData name="Britt, Christopher (OGC)" userId="S::christopher.britt@va.gov::5fa82587-9b24-4a8a-aded-5e659692449f" providerId="AD" clId="Web-{348BD0B8-7E3F-9E26-C229-2149BD72B972}"/>
    <pc:docChg chg="mod modSld">
      <pc:chgData name="Britt, Christopher (OGC)" userId="S::christopher.britt@va.gov::5fa82587-9b24-4a8a-aded-5e659692449f" providerId="AD" clId="Web-{348BD0B8-7E3F-9E26-C229-2149BD72B972}" dt="2023-12-18T13:01:06.304" v="322"/>
      <pc:docMkLst>
        <pc:docMk/>
      </pc:docMkLst>
      <pc:sldChg chg="modSp">
        <pc:chgData name="Britt, Christopher (OGC)" userId="S::christopher.britt@va.gov::5fa82587-9b24-4a8a-aded-5e659692449f" providerId="AD" clId="Web-{348BD0B8-7E3F-9E26-C229-2149BD72B972}" dt="2023-12-18T12:49:13.277" v="287" actId="20577"/>
        <pc:sldMkLst>
          <pc:docMk/>
          <pc:sldMk cId="3783721867" sldId="257"/>
        </pc:sldMkLst>
        <pc:spChg chg="mod">
          <ac:chgData name="Britt, Christopher (OGC)" userId="S::christopher.britt@va.gov::5fa82587-9b24-4a8a-aded-5e659692449f" providerId="AD" clId="Web-{348BD0B8-7E3F-9E26-C229-2149BD72B972}" dt="2023-12-18T12:49:13.277" v="287" actId="20577"/>
          <ac:spMkLst>
            <pc:docMk/>
            <pc:sldMk cId="3783721867" sldId="257"/>
            <ac:spMk id="3" creationId="{6C832279-29AB-4E4A-BE91-C51204D012A0}"/>
          </ac:spMkLst>
        </pc:spChg>
      </pc:sldChg>
      <pc:sldChg chg="modSp">
        <pc:chgData name="Britt, Christopher (OGC)" userId="S::christopher.britt@va.gov::5fa82587-9b24-4a8a-aded-5e659692449f" providerId="AD" clId="Web-{348BD0B8-7E3F-9E26-C229-2149BD72B972}" dt="2023-12-18T12:50:14.700" v="294" actId="20577"/>
        <pc:sldMkLst>
          <pc:docMk/>
          <pc:sldMk cId="2354815721" sldId="3593"/>
        </pc:sldMkLst>
        <pc:spChg chg="mod">
          <ac:chgData name="Britt, Christopher (OGC)" userId="S::christopher.britt@va.gov::5fa82587-9b24-4a8a-aded-5e659692449f" providerId="AD" clId="Web-{348BD0B8-7E3F-9E26-C229-2149BD72B972}" dt="2023-12-18T12:50:14.700" v="294" actId="20577"/>
          <ac:spMkLst>
            <pc:docMk/>
            <pc:sldMk cId="2354815721" sldId="3593"/>
            <ac:spMk id="3" creationId="{79D1E248-2363-4F8F-81B3-740F49FF7A77}"/>
          </ac:spMkLst>
        </pc:spChg>
      </pc:sldChg>
      <pc:sldChg chg="addSp delSp modSp addCm">
        <pc:chgData name="Britt, Christopher (OGC)" userId="S::christopher.britt@va.gov::5fa82587-9b24-4a8a-aded-5e659692449f" providerId="AD" clId="Web-{348BD0B8-7E3F-9E26-C229-2149BD72B972}" dt="2023-12-18T13:01:06.304" v="322"/>
        <pc:sldMkLst>
          <pc:docMk/>
          <pc:sldMk cId="1724516763" sldId="3594"/>
        </pc:sldMkLst>
        <pc:spChg chg="add del mod">
          <ac:chgData name="Britt, Christopher (OGC)" userId="S::christopher.britt@va.gov::5fa82587-9b24-4a8a-aded-5e659692449f" providerId="AD" clId="Web-{348BD0B8-7E3F-9E26-C229-2149BD72B972}" dt="2023-12-18T12:55:21.689" v="317" actId="20577"/>
          <ac:spMkLst>
            <pc:docMk/>
            <pc:sldMk cId="1724516763" sldId="3594"/>
            <ac:spMk id="2" creationId="{2D860F9D-0AF4-26EF-FBAD-61C356B1656B}"/>
          </ac:spMkLst>
        </pc:spChg>
        <pc:spChg chg="add del mod">
          <ac:chgData name="Britt, Christopher (OGC)" userId="S::christopher.britt@va.gov::5fa82587-9b24-4a8a-aded-5e659692449f" providerId="AD" clId="Web-{348BD0B8-7E3F-9E26-C229-2149BD72B972}" dt="2023-12-18T12:55:14.142" v="316"/>
          <ac:spMkLst>
            <pc:docMk/>
            <pc:sldMk cId="1724516763" sldId="3594"/>
            <ac:spMk id="6" creationId="{2786469F-9DF7-24FB-9B3B-1943D530F4CD}"/>
          </ac:spMkLst>
        </pc:spChg>
      </pc:sldChg>
      <pc:sldChg chg="modSp">
        <pc:chgData name="Britt, Christopher (OGC)" userId="S::christopher.britt@va.gov::5fa82587-9b24-4a8a-aded-5e659692449f" providerId="AD" clId="Web-{348BD0B8-7E3F-9E26-C229-2149BD72B972}" dt="2023-12-18T12:55:31.642" v="319" actId="20577"/>
        <pc:sldMkLst>
          <pc:docMk/>
          <pc:sldMk cId="3040854820" sldId="3595"/>
        </pc:sldMkLst>
        <pc:spChg chg="mod">
          <ac:chgData name="Britt, Christopher (OGC)" userId="S::christopher.britt@va.gov::5fa82587-9b24-4a8a-aded-5e659692449f" providerId="AD" clId="Web-{348BD0B8-7E3F-9E26-C229-2149BD72B972}" dt="2023-12-18T12:55:31.642" v="319" actId="20577"/>
          <ac:spMkLst>
            <pc:docMk/>
            <pc:sldMk cId="3040854820" sldId="3595"/>
            <ac:spMk id="2" creationId="{85272D4D-C278-4C39-B34E-89E38998B2A8}"/>
          </ac:spMkLst>
        </pc:spChg>
        <pc:spChg chg="mod">
          <ac:chgData name="Britt, Christopher (OGC)" userId="S::christopher.britt@va.gov::5fa82587-9b24-4a8a-aded-5e659692449f" providerId="AD" clId="Web-{348BD0B8-7E3F-9E26-C229-2149BD72B972}" dt="2023-12-18T12:53:47.703" v="311" actId="20577"/>
          <ac:spMkLst>
            <pc:docMk/>
            <pc:sldMk cId="3040854820" sldId="3595"/>
            <ac:spMk id="3" creationId="{DAD15276-0DA4-471D-82CF-035C64D0CED9}"/>
          </ac:spMkLst>
        </pc:spChg>
      </pc:sldChg>
      <pc:sldChg chg="modSp">
        <pc:chgData name="Britt, Christopher (OGC)" userId="S::christopher.britt@va.gov::5fa82587-9b24-4a8a-aded-5e659692449f" providerId="AD" clId="Web-{348BD0B8-7E3F-9E26-C229-2149BD72B972}" dt="2023-12-18T12:51:23.076" v="307" actId="20577"/>
        <pc:sldMkLst>
          <pc:docMk/>
          <pc:sldMk cId="516355374" sldId="3599"/>
        </pc:sldMkLst>
        <pc:spChg chg="mod">
          <ac:chgData name="Britt, Christopher (OGC)" userId="S::christopher.britt@va.gov::5fa82587-9b24-4a8a-aded-5e659692449f" providerId="AD" clId="Web-{348BD0B8-7E3F-9E26-C229-2149BD72B972}" dt="2023-12-18T12:51:23.076" v="307" actId="20577"/>
          <ac:spMkLst>
            <pc:docMk/>
            <pc:sldMk cId="516355374" sldId="3599"/>
            <ac:spMk id="3" creationId="{A0F8A913-2ECD-8047-BFC6-8F417ADAE61B}"/>
          </ac:spMkLst>
        </pc:spChg>
      </pc:sldChg>
      <pc:sldChg chg="modSp">
        <pc:chgData name="Britt, Christopher (OGC)" userId="S::christopher.britt@va.gov::5fa82587-9b24-4a8a-aded-5e659692449f" providerId="AD" clId="Web-{348BD0B8-7E3F-9E26-C229-2149BD72B972}" dt="2023-12-18T12:51:02.139" v="305" actId="20577"/>
        <pc:sldMkLst>
          <pc:docMk/>
          <pc:sldMk cId="726658181" sldId="3603"/>
        </pc:sldMkLst>
        <pc:spChg chg="mod">
          <ac:chgData name="Britt, Christopher (OGC)" userId="S::christopher.britt@va.gov::5fa82587-9b24-4a8a-aded-5e659692449f" providerId="AD" clId="Web-{348BD0B8-7E3F-9E26-C229-2149BD72B972}" dt="2023-12-18T12:51:02.139" v="305" actId="20577"/>
          <ac:spMkLst>
            <pc:docMk/>
            <pc:sldMk cId="726658181" sldId="3603"/>
            <ac:spMk id="3" creationId="{79D1E248-2363-4F8F-81B3-740F49FF7A77}"/>
          </ac:spMkLst>
        </pc:spChg>
      </pc:sldChg>
      <pc:sldChg chg="modSp">
        <pc:chgData name="Britt, Christopher (OGC)" userId="S::christopher.britt@va.gov::5fa82587-9b24-4a8a-aded-5e659692449f" providerId="AD" clId="Web-{348BD0B8-7E3F-9E26-C229-2149BD72B972}" dt="2023-12-18T12:55:38.846" v="321" actId="20577"/>
        <pc:sldMkLst>
          <pc:docMk/>
          <pc:sldMk cId="3985465261" sldId="3604"/>
        </pc:sldMkLst>
        <pc:spChg chg="mod">
          <ac:chgData name="Britt, Christopher (OGC)" userId="S::christopher.britt@va.gov::5fa82587-9b24-4a8a-aded-5e659692449f" providerId="AD" clId="Web-{348BD0B8-7E3F-9E26-C229-2149BD72B972}" dt="2023-12-18T12:55:38.846" v="321" actId="20577"/>
          <ac:spMkLst>
            <pc:docMk/>
            <pc:sldMk cId="3985465261" sldId="3604"/>
            <ac:spMk id="2" creationId="{F28C85E1-E41F-7AA5-9A63-4D4740DDF3EE}"/>
          </ac:spMkLst>
        </pc:spChg>
        <pc:spChg chg="mod">
          <ac:chgData name="Britt, Christopher (OGC)" userId="S::christopher.britt@va.gov::5fa82587-9b24-4a8a-aded-5e659692449f" providerId="AD" clId="Web-{348BD0B8-7E3F-9E26-C229-2149BD72B972}" dt="2023-12-18T12:54:13.344" v="314" actId="20577"/>
          <ac:spMkLst>
            <pc:docMk/>
            <pc:sldMk cId="3985465261" sldId="3604"/>
            <ac:spMk id="3" creationId="{C2AAA1AB-4C5B-8EC2-3DEC-63170C74D05D}"/>
          </ac:spMkLst>
        </pc:spChg>
      </pc:sldChg>
    </pc:docChg>
  </pc:docChgLst>
  <pc:docChgLst>
    <pc:chgData name="Foster, Angela" userId="S::angela.foster@va.gov::29524050-54a8-4308-8bd1-10d67264d500" providerId="AD" clId="Web-{CF807ABE-46DF-2E80-4928-656090181430}"/>
    <pc:docChg chg="addSld modSld">
      <pc:chgData name="Foster, Angela" userId="S::angela.foster@va.gov::29524050-54a8-4308-8bd1-10d67264d500" providerId="AD" clId="Web-{CF807ABE-46DF-2E80-4928-656090181430}" dt="2023-12-19T15:51:36.430" v="165" actId="1076"/>
      <pc:docMkLst>
        <pc:docMk/>
      </pc:docMkLst>
      <pc:sldChg chg="modSp">
        <pc:chgData name="Foster, Angela" userId="S::angela.foster@va.gov::29524050-54a8-4308-8bd1-10d67264d500" providerId="AD" clId="Web-{CF807ABE-46DF-2E80-4928-656090181430}" dt="2023-12-18T12:40:58.424" v="54" actId="20577"/>
        <pc:sldMkLst>
          <pc:docMk/>
          <pc:sldMk cId="1724516763" sldId="3594"/>
        </pc:sldMkLst>
        <pc:spChg chg="mod">
          <ac:chgData name="Foster, Angela" userId="S::angela.foster@va.gov::29524050-54a8-4308-8bd1-10d67264d500" providerId="AD" clId="Web-{CF807ABE-46DF-2E80-4928-656090181430}" dt="2023-12-18T12:40:58.424" v="54" actId="20577"/>
          <ac:spMkLst>
            <pc:docMk/>
            <pc:sldMk cId="1724516763" sldId="3594"/>
            <ac:spMk id="3" creationId="{AD15D326-2146-827B-348C-0B78C6AC7D65}"/>
          </ac:spMkLst>
        </pc:spChg>
      </pc:sldChg>
      <pc:sldChg chg="addSp delSp modSp">
        <pc:chgData name="Foster, Angela" userId="S::angela.foster@va.gov::29524050-54a8-4308-8bd1-10d67264d500" providerId="AD" clId="Web-{CF807ABE-46DF-2E80-4928-656090181430}" dt="2023-12-18T13:51:38.901" v="71" actId="14100"/>
        <pc:sldMkLst>
          <pc:docMk/>
          <pc:sldMk cId="3941332576" sldId="3605"/>
        </pc:sldMkLst>
        <pc:picChg chg="add del mod">
          <ac:chgData name="Foster, Angela" userId="S::angela.foster@va.gov::29524050-54a8-4308-8bd1-10d67264d500" providerId="AD" clId="Web-{CF807ABE-46DF-2E80-4928-656090181430}" dt="2023-12-18T13:49:09.196" v="60"/>
          <ac:picMkLst>
            <pc:docMk/>
            <pc:sldMk cId="3941332576" sldId="3605"/>
            <ac:picMk id="5" creationId="{0640260D-33C1-9E77-D0E4-0AFFAF4C708A}"/>
          </ac:picMkLst>
        </pc:picChg>
        <pc:picChg chg="add del mod">
          <ac:chgData name="Foster, Angela" userId="S::angela.foster@va.gov::29524050-54a8-4308-8bd1-10d67264d500" providerId="AD" clId="Web-{CF807ABE-46DF-2E80-4928-656090181430}" dt="2023-12-18T13:28:44.999" v="58"/>
          <ac:picMkLst>
            <pc:docMk/>
            <pc:sldMk cId="3941332576" sldId="3605"/>
            <ac:picMk id="5" creationId="{1A5B101D-7B60-017F-BAB2-707866E82266}"/>
          </ac:picMkLst>
        </pc:picChg>
        <pc:picChg chg="add del mod">
          <ac:chgData name="Foster, Angela" userId="S::angela.foster@va.gov::29524050-54a8-4308-8bd1-10d67264d500" providerId="AD" clId="Web-{CF807ABE-46DF-2E80-4928-656090181430}" dt="2023-12-18T13:50:33.510" v="66"/>
          <ac:picMkLst>
            <pc:docMk/>
            <pc:sldMk cId="3941332576" sldId="3605"/>
            <ac:picMk id="6" creationId="{045396C3-F947-CA6C-F83D-AA778AAF380E}"/>
          </ac:picMkLst>
        </pc:picChg>
        <pc:picChg chg="add mod">
          <ac:chgData name="Foster, Angela" userId="S::angela.foster@va.gov::29524050-54a8-4308-8bd1-10d67264d500" providerId="AD" clId="Web-{CF807ABE-46DF-2E80-4928-656090181430}" dt="2023-12-18T13:51:38.901" v="71" actId="14100"/>
          <ac:picMkLst>
            <pc:docMk/>
            <pc:sldMk cId="3941332576" sldId="3605"/>
            <ac:picMk id="7" creationId="{7245A246-6A0E-2A6A-49FC-52CC66777B5F}"/>
          </ac:picMkLst>
        </pc:picChg>
      </pc:sldChg>
      <pc:sldChg chg="addSp delSp modSp new">
        <pc:chgData name="Foster, Angela" userId="S::angela.foster@va.gov::29524050-54a8-4308-8bd1-10d67264d500" providerId="AD" clId="Web-{CF807ABE-46DF-2E80-4928-656090181430}" dt="2023-12-19T15:51:36.430" v="165" actId="1076"/>
        <pc:sldMkLst>
          <pc:docMk/>
          <pc:sldMk cId="2458002364" sldId="3606"/>
        </pc:sldMkLst>
        <pc:spChg chg="mod">
          <ac:chgData name="Foster, Angela" userId="S::angela.foster@va.gov::29524050-54a8-4308-8bd1-10d67264d500" providerId="AD" clId="Web-{CF807ABE-46DF-2E80-4928-656090181430}" dt="2023-12-18T13:54:42.012" v="91" actId="20577"/>
          <ac:spMkLst>
            <pc:docMk/>
            <pc:sldMk cId="2458002364" sldId="3606"/>
            <ac:spMk id="2" creationId="{29BDF559-C701-BF2B-ACC1-C2EA630B7B90}"/>
          </ac:spMkLst>
        </pc:spChg>
        <pc:spChg chg="del">
          <ac:chgData name="Foster, Angela" userId="S::angela.foster@va.gov::29524050-54a8-4308-8bd1-10d67264d500" providerId="AD" clId="Web-{CF807ABE-46DF-2E80-4928-656090181430}" dt="2023-12-18T13:57:22.170" v="92"/>
          <ac:spMkLst>
            <pc:docMk/>
            <pc:sldMk cId="2458002364" sldId="3606"/>
            <ac:spMk id="3" creationId="{89BB5C06-11B8-B160-87C1-4CD3023A1049}"/>
          </ac:spMkLst>
        </pc:spChg>
        <pc:spChg chg="add mod">
          <ac:chgData name="Foster, Angela" userId="S::angela.foster@va.gov::29524050-54a8-4308-8bd1-10d67264d500" providerId="AD" clId="Web-{CF807ABE-46DF-2E80-4928-656090181430}" dt="2023-12-19T15:51:36.430" v="165" actId="1076"/>
          <ac:spMkLst>
            <pc:docMk/>
            <pc:sldMk cId="2458002364" sldId="3606"/>
            <ac:spMk id="3" creationId="{9206CA14-5BE3-33F5-6B63-6164C9811A07}"/>
          </ac:spMkLst>
        </pc:spChg>
        <pc:spChg chg="add mod">
          <ac:chgData name="Foster, Angela" userId="S::angela.foster@va.gov::29524050-54a8-4308-8bd1-10d67264d500" providerId="AD" clId="Web-{CF807ABE-46DF-2E80-4928-656090181430}" dt="2023-12-18T13:58:13.779" v="99"/>
          <ac:spMkLst>
            <pc:docMk/>
            <pc:sldMk cId="2458002364" sldId="3606"/>
            <ac:spMk id="6" creationId="{B617C4A0-001E-DB0E-6064-8A27828A7419}"/>
          </ac:spMkLst>
        </pc:spChg>
        <pc:spChg chg="add mod">
          <ac:chgData name="Foster, Angela" userId="S::angela.foster@va.gov::29524050-54a8-4308-8bd1-10d67264d500" providerId="AD" clId="Web-{CF807ABE-46DF-2E80-4928-656090181430}" dt="2023-12-18T13:58:31.967" v="101" actId="1076"/>
          <ac:spMkLst>
            <pc:docMk/>
            <pc:sldMk cId="2458002364" sldId="3606"/>
            <ac:spMk id="7" creationId="{FBF21E3D-BB0F-185F-9AF5-DE8D888B434A}"/>
          </ac:spMkLst>
        </pc:spChg>
        <pc:spChg chg="add mod">
          <ac:chgData name="Foster, Angela" userId="S::angela.foster@va.gov::29524050-54a8-4308-8bd1-10d67264d500" providerId="AD" clId="Web-{CF807ABE-46DF-2E80-4928-656090181430}" dt="2023-12-18T13:58:40.733" v="103" actId="1076"/>
          <ac:spMkLst>
            <pc:docMk/>
            <pc:sldMk cId="2458002364" sldId="3606"/>
            <ac:spMk id="8" creationId="{B40C597A-B95A-DE31-E582-367B38536F22}"/>
          </ac:spMkLst>
        </pc:spChg>
        <pc:picChg chg="add mod ord">
          <ac:chgData name="Foster, Angela" userId="S::angela.foster@va.gov::29524050-54a8-4308-8bd1-10d67264d500" providerId="AD" clId="Web-{CF807ABE-46DF-2E80-4928-656090181430}" dt="2023-12-18T13:57:35.560" v="95" actId="1076"/>
          <ac:picMkLst>
            <pc:docMk/>
            <pc:sldMk cId="2458002364" sldId="3606"/>
            <ac:picMk id="5" creationId="{FE1240CD-61F3-62FD-E5FE-D91E852FBDB1}"/>
          </ac:picMkLst>
        </pc:picChg>
      </pc:sldChg>
      <pc:sldChg chg="addSp delSp modSp new">
        <pc:chgData name="Foster, Angela" userId="S::angela.foster@va.gov::29524050-54a8-4308-8bd1-10d67264d500" providerId="AD" clId="Web-{CF807ABE-46DF-2E80-4928-656090181430}" dt="2023-12-18T14:03:26.579" v="150" actId="1076"/>
        <pc:sldMkLst>
          <pc:docMk/>
          <pc:sldMk cId="1664200620" sldId="3607"/>
        </pc:sldMkLst>
        <pc:spChg chg="mod">
          <ac:chgData name="Foster, Angela" userId="S::angela.foster@va.gov::29524050-54a8-4308-8bd1-10d67264d500" providerId="AD" clId="Web-{CF807ABE-46DF-2E80-4928-656090181430}" dt="2023-12-18T14:00:30.687" v="121" actId="20577"/>
          <ac:spMkLst>
            <pc:docMk/>
            <pc:sldMk cId="1664200620" sldId="3607"/>
            <ac:spMk id="2" creationId="{E131D64C-245B-9496-8319-9B26EC524382}"/>
          </ac:spMkLst>
        </pc:spChg>
        <pc:spChg chg="del">
          <ac:chgData name="Foster, Angela" userId="S::angela.foster@va.gov::29524050-54a8-4308-8bd1-10d67264d500" providerId="AD" clId="Web-{CF807ABE-46DF-2E80-4928-656090181430}" dt="2023-12-18T14:00:40.812" v="122"/>
          <ac:spMkLst>
            <pc:docMk/>
            <pc:sldMk cId="1664200620" sldId="3607"/>
            <ac:spMk id="3" creationId="{3EA40CD7-A1FD-BC14-F2BE-036F516CCCB8}"/>
          </ac:spMkLst>
        </pc:spChg>
        <pc:picChg chg="add mod ord modCrop">
          <ac:chgData name="Foster, Angela" userId="S::angela.foster@va.gov::29524050-54a8-4308-8bd1-10d67264d500" providerId="AD" clId="Web-{CF807ABE-46DF-2E80-4928-656090181430}" dt="2023-12-18T14:03:18.079" v="148" actId="14100"/>
          <ac:picMkLst>
            <pc:docMk/>
            <pc:sldMk cId="1664200620" sldId="3607"/>
            <ac:picMk id="5" creationId="{3DA1AAF2-C89C-8720-B097-82BC93B06D4A}"/>
          </ac:picMkLst>
        </pc:picChg>
        <pc:cxnChg chg="add mod">
          <ac:chgData name="Foster, Angela" userId="S::angela.foster@va.gov::29524050-54a8-4308-8bd1-10d67264d500" providerId="AD" clId="Web-{CF807ABE-46DF-2E80-4928-656090181430}" dt="2023-12-18T14:03:26.579" v="150" actId="1076"/>
          <ac:cxnSpMkLst>
            <pc:docMk/>
            <pc:sldMk cId="1664200620" sldId="3607"/>
            <ac:cxnSpMk id="6" creationId="{988EDE1B-E82C-EBA8-D486-374F4D9E2144}"/>
          </ac:cxnSpMkLst>
        </pc:cxnChg>
        <pc:cxnChg chg="add mod">
          <ac:chgData name="Foster, Angela" userId="S::angela.foster@va.gov::29524050-54a8-4308-8bd1-10d67264d500" providerId="AD" clId="Web-{CF807ABE-46DF-2E80-4928-656090181430}" dt="2023-12-18T14:03:22.532" v="149" actId="1076"/>
          <ac:cxnSpMkLst>
            <pc:docMk/>
            <pc:sldMk cId="1664200620" sldId="3607"/>
            <ac:cxnSpMk id="7" creationId="{7E9FD054-AF24-4AB1-395A-688BCF849676}"/>
          </ac:cxnSpMkLst>
        </pc:cxnChg>
      </pc:sldChg>
    </pc:docChg>
  </pc:docChgLst>
  <pc:docChgLst>
    <pc:chgData name="Jeans, C. Karen" userId="S::c.karen.jeans@va.gov::00c3bc53-3dd4-4359-9a71-7f90200e3ef0" providerId="AD" clId="Web-{AD127EB5-1856-C0A7-69D5-0D6005CF7F27}"/>
    <pc:docChg chg="addSld delSld modSld sldOrd">
      <pc:chgData name="Jeans, C. Karen" userId="S::c.karen.jeans@va.gov::00c3bc53-3dd4-4359-9a71-7f90200e3ef0" providerId="AD" clId="Web-{AD127EB5-1856-C0A7-69D5-0D6005CF7F27}" dt="2023-12-17T23:37:06.619" v="1705" actId="20577"/>
      <pc:docMkLst>
        <pc:docMk/>
      </pc:docMkLst>
      <pc:sldChg chg="modSp ord addCm delCm modCm">
        <pc:chgData name="Jeans, C. Karen" userId="S::c.karen.jeans@va.gov::00c3bc53-3dd4-4359-9a71-7f90200e3ef0" providerId="AD" clId="Web-{AD127EB5-1856-C0A7-69D5-0D6005CF7F27}" dt="2023-12-17T23:34:12.600" v="1664" actId="20577"/>
        <pc:sldMkLst>
          <pc:docMk/>
          <pc:sldMk cId="3783721867" sldId="257"/>
        </pc:sldMkLst>
        <pc:spChg chg="mod">
          <ac:chgData name="Jeans, C. Karen" userId="S::c.karen.jeans@va.gov::00c3bc53-3dd4-4359-9a71-7f90200e3ef0" providerId="AD" clId="Web-{AD127EB5-1856-C0A7-69D5-0D6005CF7F27}" dt="2023-12-17T23:34:12.600" v="1664" actId="20577"/>
          <ac:spMkLst>
            <pc:docMk/>
            <pc:sldMk cId="3783721867" sldId="257"/>
            <ac:spMk id="3" creationId="{6C832279-29AB-4E4A-BE91-C51204D012A0}"/>
          </ac:spMkLst>
        </pc:spChg>
      </pc:sldChg>
      <pc:sldChg chg="modSp">
        <pc:chgData name="Jeans, C. Karen" userId="S::c.karen.jeans@va.gov::00c3bc53-3dd4-4359-9a71-7f90200e3ef0" providerId="AD" clId="Web-{AD127EB5-1856-C0A7-69D5-0D6005CF7F27}" dt="2023-12-17T23:31:21.816" v="1605" actId="1076"/>
        <pc:sldMkLst>
          <pc:docMk/>
          <pc:sldMk cId="753555788" sldId="277"/>
        </pc:sldMkLst>
        <pc:spChg chg="mod">
          <ac:chgData name="Jeans, C. Karen" userId="S::c.karen.jeans@va.gov::00c3bc53-3dd4-4359-9a71-7f90200e3ef0" providerId="AD" clId="Web-{AD127EB5-1856-C0A7-69D5-0D6005CF7F27}" dt="2023-12-17T23:31:21.816" v="1605" actId="1076"/>
          <ac:spMkLst>
            <pc:docMk/>
            <pc:sldMk cId="753555788" sldId="277"/>
            <ac:spMk id="2" creationId="{2BC941DF-193A-435B-8421-CB7C40252F41}"/>
          </ac:spMkLst>
        </pc:spChg>
        <pc:spChg chg="mod">
          <ac:chgData name="Jeans, C. Karen" userId="S::c.karen.jeans@va.gov::00c3bc53-3dd4-4359-9a71-7f90200e3ef0" providerId="AD" clId="Web-{AD127EB5-1856-C0A7-69D5-0D6005CF7F27}" dt="2023-12-17T22:26:29.184" v="283" actId="1076"/>
          <ac:spMkLst>
            <pc:docMk/>
            <pc:sldMk cId="753555788" sldId="277"/>
            <ac:spMk id="4" creationId="{925B5FBC-47C1-48E9-8F6F-B1A01A48A8AA}"/>
          </ac:spMkLst>
        </pc:spChg>
      </pc:sldChg>
      <pc:sldChg chg="modSp addCm">
        <pc:chgData name="Jeans, C. Karen" userId="S::c.karen.jeans@va.gov::00c3bc53-3dd4-4359-9a71-7f90200e3ef0" providerId="AD" clId="Web-{AD127EB5-1856-C0A7-69D5-0D6005CF7F27}" dt="2023-12-17T22:27:42.154" v="318" actId="20577"/>
        <pc:sldMkLst>
          <pc:docMk/>
          <pc:sldMk cId="2949336715" sldId="3585"/>
        </pc:sldMkLst>
        <pc:spChg chg="mod">
          <ac:chgData name="Jeans, C. Karen" userId="S::c.karen.jeans@va.gov::00c3bc53-3dd4-4359-9a71-7f90200e3ef0" providerId="AD" clId="Web-{AD127EB5-1856-C0A7-69D5-0D6005CF7F27}" dt="2023-12-17T22:27:42.154" v="318" actId="20577"/>
          <ac:spMkLst>
            <pc:docMk/>
            <pc:sldMk cId="2949336715" sldId="3585"/>
            <ac:spMk id="6" creationId="{B576CEE1-B8B6-4853-A174-DD762E626E11}"/>
          </ac:spMkLst>
        </pc:spChg>
      </pc:sldChg>
      <pc:sldChg chg="modSp">
        <pc:chgData name="Jeans, C. Karen" userId="S::c.karen.jeans@va.gov::00c3bc53-3dd4-4359-9a71-7f90200e3ef0" providerId="AD" clId="Web-{AD127EB5-1856-C0A7-69D5-0D6005CF7F27}" dt="2023-12-17T23:34:30.850" v="1665" actId="20577"/>
        <pc:sldMkLst>
          <pc:docMk/>
          <pc:sldMk cId="682120080" sldId="3586"/>
        </pc:sldMkLst>
        <pc:spChg chg="mod">
          <ac:chgData name="Jeans, C. Karen" userId="S::c.karen.jeans@va.gov::00c3bc53-3dd4-4359-9a71-7f90200e3ef0" providerId="AD" clId="Web-{AD127EB5-1856-C0A7-69D5-0D6005CF7F27}" dt="2023-12-17T22:13:31.405" v="248" actId="20577"/>
          <ac:spMkLst>
            <pc:docMk/>
            <pc:sldMk cId="682120080" sldId="3586"/>
            <ac:spMk id="6" creationId="{8C2AB55A-2319-4BBB-82E5-951AB94795A4}"/>
          </ac:spMkLst>
        </pc:spChg>
        <pc:spChg chg="mod">
          <ac:chgData name="Jeans, C. Karen" userId="S::c.karen.jeans@va.gov::00c3bc53-3dd4-4359-9a71-7f90200e3ef0" providerId="AD" clId="Web-{AD127EB5-1856-C0A7-69D5-0D6005CF7F27}" dt="2023-12-17T23:34:30.850" v="1665" actId="20577"/>
          <ac:spMkLst>
            <pc:docMk/>
            <pc:sldMk cId="682120080" sldId="3586"/>
            <ac:spMk id="7" creationId="{8CE357C9-7D76-4494-A36E-9201DAA25553}"/>
          </ac:spMkLst>
        </pc:spChg>
      </pc:sldChg>
      <pc:sldChg chg="modSp addCm modCm">
        <pc:chgData name="Jeans, C. Karen" userId="S::c.karen.jeans@va.gov::00c3bc53-3dd4-4359-9a71-7f90200e3ef0" providerId="AD" clId="Web-{AD127EB5-1856-C0A7-69D5-0D6005CF7F27}" dt="2023-12-17T23:35:00.070" v="1681" actId="20577"/>
        <pc:sldMkLst>
          <pc:docMk/>
          <pc:sldMk cId="2354815721" sldId="3593"/>
        </pc:sldMkLst>
        <pc:spChg chg="mod">
          <ac:chgData name="Jeans, C. Karen" userId="S::c.karen.jeans@va.gov::00c3bc53-3dd4-4359-9a71-7f90200e3ef0" providerId="AD" clId="Web-{AD127EB5-1856-C0A7-69D5-0D6005CF7F27}" dt="2023-12-17T23:35:00.070" v="1681" actId="20577"/>
          <ac:spMkLst>
            <pc:docMk/>
            <pc:sldMk cId="2354815721" sldId="3593"/>
            <ac:spMk id="2" creationId="{FCDA71CF-D4AE-42D6-BC6C-7594AC5BB4D1}"/>
          </ac:spMkLst>
        </pc:spChg>
        <pc:spChg chg="mod">
          <ac:chgData name="Jeans, C. Karen" userId="S::c.karen.jeans@va.gov::00c3bc53-3dd4-4359-9a71-7f90200e3ef0" providerId="AD" clId="Web-{AD127EB5-1856-C0A7-69D5-0D6005CF7F27}" dt="2023-12-17T22:49:38.928" v="913" actId="1076"/>
          <ac:spMkLst>
            <pc:docMk/>
            <pc:sldMk cId="2354815721" sldId="3593"/>
            <ac:spMk id="3" creationId="{79D1E248-2363-4F8F-81B3-740F49FF7A77}"/>
          </ac:spMkLst>
        </pc:spChg>
      </pc:sldChg>
      <pc:sldChg chg="modSp">
        <pc:chgData name="Jeans, C. Karen" userId="S::c.karen.jeans@va.gov::00c3bc53-3dd4-4359-9a71-7f90200e3ef0" providerId="AD" clId="Web-{AD127EB5-1856-C0A7-69D5-0D6005CF7F27}" dt="2023-12-17T23:07:04.993" v="1275" actId="20577"/>
        <pc:sldMkLst>
          <pc:docMk/>
          <pc:sldMk cId="1724516763" sldId="3594"/>
        </pc:sldMkLst>
        <pc:spChg chg="mod">
          <ac:chgData name="Jeans, C. Karen" userId="S::c.karen.jeans@va.gov::00c3bc53-3dd4-4359-9a71-7f90200e3ef0" providerId="AD" clId="Web-{AD127EB5-1856-C0A7-69D5-0D6005CF7F27}" dt="2023-12-17T23:04:53.585" v="1246" actId="20577"/>
          <ac:spMkLst>
            <pc:docMk/>
            <pc:sldMk cId="1724516763" sldId="3594"/>
            <ac:spMk id="2" creationId="{2D860F9D-0AF4-26EF-FBAD-61C356B1656B}"/>
          </ac:spMkLst>
        </pc:spChg>
        <pc:spChg chg="mod">
          <ac:chgData name="Jeans, C. Karen" userId="S::c.karen.jeans@va.gov::00c3bc53-3dd4-4359-9a71-7f90200e3ef0" providerId="AD" clId="Web-{AD127EB5-1856-C0A7-69D5-0D6005CF7F27}" dt="2023-12-17T23:07:04.993" v="1275" actId="20577"/>
          <ac:spMkLst>
            <pc:docMk/>
            <pc:sldMk cId="1724516763" sldId="3594"/>
            <ac:spMk id="3" creationId="{AD15D326-2146-827B-348C-0B78C6AC7D65}"/>
          </ac:spMkLst>
        </pc:spChg>
      </pc:sldChg>
      <pc:sldChg chg="modSp">
        <pc:chgData name="Jeans, C. Karen" userId="S::c.karen.jeans@va.gov::00c3bc53-3dd4-4359-9a71-7f90200e3ef0" providerId="AD" clId="Web-{AD127EB5-1856-C0A7-69D5-0D6005CF7F27}" dt="2023-12-17T23:37:06.619" v="1705" actId="20577"/>
        <pc:sldMkLst>
          <pc:docMk/>
          <pc:sldMk cId="3040854820" sldId="3595"/>
        </pc:sldMkLst>
        <pc:spChg chg="mod">
          <ac:chgData name="Jeans, C. Karen" userId="S::c.karen.jeans@va.gov::00c3bc53-3dd4-4359-9a71-7f90200e3ef0" providerId="AD" clId="Web-{AD127EB5-1856-C0A7-69D5-0D6005CF7F27}" dt="2023-12-17T23:05:34.460" v="1251" actId="1076"/>
          <ac:spMkLst>
            <pc:docMk/>
            <pc:sldMk cId="3040854820" sldId="3595"/>
            <ac:spMk id="2" creationId="{85272D4D-C278-4C39-B34E-89E38998B2A8}"/>
          </ac:spMkLst>
        </pc:spChg>
        <pc:spChg chg="mod">
          <ac:chgData name="Jeans, C. Karen" userId="S::c.karen.jeans@va.gov::00c3bc53-3dd4-4359-9a71-7f90200e3ef0" providerId="AD" clId="Web-{AD127EB5-1856-C0A7-69D5-0D6005CF7F27}" dt="2023-12-17T23:37:06.619" v="1705" actId="20577"/>
          <ac:spMkLst>
            <pc:docMk/>
            <pc:sldMk cId="3040854820" sldId="3595"/>
            <ac:spMk id="3" creationId="{DAD15276-0DA4-471D-82CF-035C64D0CED9}"/>
          </ac:spMkLst>
        </pc:spChg>
      </pc:sldChg>
      <pc:sldChg chg="modSp del">
        <pc:chgData name="Jeans, C. Karen" userId="S::c.karen.jeans@va.gov::00c3bc53-3dd4-4359-9a71-7f90200e3ef0" providerId="AD" clId="Web-{AD127EB5-1856-C0A7-69D5-0D6005CF7F27}" dt="2023-12-17T23:14:07.516" v="1361"/>
        <pc:sldMkLst>
          <pc:docMk/>
          <pc:sldMk cId="4071787078" sldId="3596"/>
        </pc:sldMkLst>
        <pc:spChg chg="mod">
          <ac:chgData name="Jeans, C. Karen" userId="S::c.karen.jeans@va.gov::00c3bc53-3dd4-4359-9a71-7f90200e3ef0" providerId="AD" clId="Web-{AD127EB5-1856-C0A7-69D5-0D6005CF7F27}" dt="2023-12-17T23:08:56.105" v="1308" actId="1076"/>
          <ac:spMkLst>
            <pc:docMk/>
            <pc:sldMk cId="4071787078" sldId="3596"/>
            <ac:spMk id="2" creationId="{86BCAED1-C1A8-757E-2F08-16FEE0A4E7B0}"/>
          </ac:spMkLst>
        </pc:spChg>
        <pc:spChg chg="mod">
          <ac:chgData name="Jeans, C. Karen" userId="S::c.karen.jeans@va.gov::00c3bc53-3dd4-4359-9a71-7f90200e3ef0" providerId="AD" clId="Web-{AD127EB5-1856-C0A7-69D5-0D6005CF7F27}" dt="2023-12-17T23:12:12.827" v="1347" actId="14100"/>
          <ac:spMkLst>
            <pc:docMk/>
            <pc:sldMk cId="4071787078" sldId="3596"/>
            <ac:spMk id="3" creationId="{8B6B1EC0-0592-121B-1C43-34AAA9CB7168}"/>
          </ac:spMkLst>
        </pc:spChg>
      </pc:sldChg>
      <pc:sldChg chg="modSp">
        <pc:chgData name="Jeans, C. Karen" userId="S::c.karen.jeans@va.gov::00c3bc53-3dd4-4359-9a71-7f90200e3ef0" providerId="AD" clId="Web-{AD127EB5-1856-C0A7-69D5-0D6005CF7F27}" dt="2023-12-17T23:20:33.086" v="1430" actId="1076"/>
        <pc:sldMkLst>
          <pc:docMk/>
          <pc:sldMk cId="1125378631" sldId="3597"/>
        </pc:sldMkLst>
        <pc:spChg chg="mod">
          <ac:chgData name="Jeans, C. Karen" userId="S::c.karen.jeans@va.gov::00c3bc53-3dd4-4359-9a71-7f90200e3ef0" providerId="AD" clId="Web-{AD127EB5-1856-C0A7-69D5-0D6005CF7F27}" dt="2023-12-17T23:14:40.423" v="1377" actId="20577"/>
          <ac:spMkLst>
            <pc:docMk/>
            <pc:sldMk cId="1125378631" sldId="3597"/>
            <ac:spMk id="2" creationId="{AF78C9EE-B9B3-23C4-2185-980BC530B23F}"/>
          </ac:spMkLst>
        </pc:spChg>
        <pc:spChg chg="mod">
          <ac:chgData name="Jeans, C. Karen" userId="S::c.karen.jeans@va.gov::00c3bc53-3dd4-4359-9a71-7f90200e3ef0" providerId="AD" clId="Web-{AD127EB5-1856-C0A7-69D5-0D6005CF7F27}" dt="2023-12-17T23:20:33.086" v="1430" actId="1076"/>
          <ac:spMkLst>
            <pc:docMk/>
            <pc:sldMk cId="1125378631" sldId="3597"/>
            <ac:spMk id="3" creationId="{D0E65D06-74D9-F3D5-861B-631ABDF8B934}"/>
          </ac:spMkLst>
        </pc:spChg>
      </pc:sldChg>
      <pc:sldChg chg="addSp modSp del">
        <pc:chgData name="Jeans, C. Karen" userId="S::c.karen.jeans@va.gov::00c3bc53-3dd4-4359-9a71-7f90200e3ef0" providerId="AD" clId="Web-{AD127EB5-1856-C0A7-69D5-0D6005CF7F27}" dt="2023-12-17T23:21:41.884" v="1453"/>
        <pc:sldMkLst>
          <pc:docMk/>
          <pc:sldMk cId="2120796716" sldId="3598"/>
        </pc:sldMkLst>
        <pc:spChg chg="add mod">
          <ac:chgData name="Jeans, C. Karen" userId="S::c.karen.jeans@va.gov::00c3bc53-3dd4-4359-9a71-7f90200e3ef0" providerId="AD" clId="Web-{AD127EB5-1856-C0A7-69D5-0D6005CF7F27}" dt="2023-12-17T23:21:05.258" v="1432"/>
          <ac:spMkLst>
            <pc:docMk/>
            <pc:sldMk cId="2120796716" sldId="3598"/>
            <ac:spMk id="5" creationId="{F4D3B38F-3C6F-1272-19D1-E7BF856B260E}"/>
          </ac:spMkLst>
        </pc:spChg>
      </pc:sldChg>
      <pc:sldChg chg="modSp addCm delCm">
        <pc:chgData name="Jeans, C. Karen" userId="S::c.karen.jeans@va.gov::00c3bc53-3dd4-4359-9a71-7f90200e3ef0" providerId="AD" clId="Web-{AD127EB5-1856-C0A7-69D5-0D6005CF7F27}" dt="2023-12-17T23:36:03.336" v="1684" actId="20577"/>
        <pc:sldMkLst>
          <pc:docMk/>
          <pc:sldMk cId="516355374" sldId="3599"/>
        </pc:sldMkLst>
        <pc:spChg chg="mod">
          <ac:chgData name="Jeans, C. Karen" userId="S::c.karen.jeans@va.gov::00c3bc53-3dd4-4359-9a71-7f90200e3ef0" providerId="AD" clId="Web-{AD127EB5-1856-C0A7-69D5-0D6005CF7F27}" dt="2023-12-17T22:52:03.556" v="951" actId="20577"/>
          <ac:spMkLst>
            <pc:docMk/>
            <pc:sldMk cId="516355374" sldId="3599"/>
            <ac:spMk id="2" creationId="{6ED2ED5F-B42B-9597-80D6-EB46FB11EA5A}"/>
          </ac:spMkLst>
        </pc:spChg>
        <pc:spChg chg="mod">
          <ac:chgData name="Jeans, C. Karen" userId="S::c.karen.jeans@va.gov::00c3bc53-3dd4-4359-9a71-7f90200e3ef0" providerId="AD" clId="Web-{AD127EB5-1856-C0A7-69D5-0D6005CF7F27}" dt="2023-12-17T23:36:03.336" v="1684" actId="20577"/>
          <ac:spMkLst>
            <pc:docMk/>
            <pc:sldMk cId="516355374" sldId="3599"/>
            <ac:spMk id="3" creationId="{A0F8A913-2ECD-8047-BFC6-8F417ADAE61B}"/>
          </ac:spMkLst>
        </pc:spChg>
      </pc:sldChg>
      <pc:sldChg chg="modSp">
        <pc:chgData name="Jeans, C. Karen" userId="S::c.karen.jeans@va.gov::00c3bc53-3dd4-4359-9a71-7f90200e3ef0" providerId="AD" clId="Web-{AD127EB5-1856-C0A7-69D5-0D6005CF7F27}" dt="2023-12-17T23:36:31.743" v="1704" actId="14100"/>
        <pc:sldMkLst>
          <pc:docMk/>
          <pc:sldMk cId="38142049" sldId="3600"/>
        </pc:sldMkLst>
        <pc:spChg chg="mod">
          <ac:chgData name="Jeans, C. Karen" userId="S::c.karen.jeans@va.gov::00c3bc53-3dd4-4359-9a71-7f90200e3ef0" providerId="AD" clId="Web-{AD127EB5-1856-C0A7-69D5-0D6005CF7F27}" dt="2023-12-17T22:59:18.173" v="1124" actId="20577"/>
          <ac:spMkLst>
            <pc:docMk/>
            <pc:sldMk cId="38142049" sldId="3600"/>
            <ac:spMk id="2" creationId="{6ED2ED5F-B42B-9597-80D6-EB46FB11EA5A}"/>
          </ac:spMkLst>
        </pc:spChg>
        <pc:spChg chg="mod">
          <ac:chgData name="Jeans, C. Karen" userId="S::c.karen.jeans@va.gov::00c3bc53-3dd4-4359-9a71-7f90200e3ef0" providerId="AD" clId="Web-{AD127EB5-1856-C0A7-69D5-0D6005CF7F27}" dt="2023-12-17T23:36:31.743" v="1704" actId="14100"/>
          <ac:spMkLst>
            <pc:docMk/>
            <pc:sldMk cId="38142049" sldId="3600"/>
            <ac:spMk id="3" creationId="{A0F8A913-2ECD-8047-BFC6-8F417ADAE61B}"/>
          </ac:spMkLst>
        </pc:spChg>
      </pc:sldChg>
      <pc:sldChg chg="modSp">
        <pc:chgData name="Jeans, C. Karen" userId="S::c.karen.jeans@va.gov::00c3bc53-3dd4-4359-9a71-7f90200e3ef0" providerId="AD" clId="Web-{AD127EB5-1856-C0A7-69D5-0D6005CF7F27}" dt="2023-12-17T23:30:23.862" v="1604" actId="1076"/>
        <pc:sldMkLst>
          <pc:docMk/>
          <pc:sldMk cId="182566815" sldId="3602"/>
        </pc:sldMkLst>
        <pc:spChg chg="mod">
          <ac:chgData name="Jeans, C. Karen" userId="S::c.karen.jeans@va.gov::00c3bc53-3dd4-4359-9a71-7f90200e3ef0" providerId="AD" clId="Web-{AD127EB5-1856-C0A7-69D5-0D6005CF7F27}" dt="2023-12-17T23:22:22.166" v="1458" actId="20577"/>
          <ac:spMkLst>
            <pc:docMk/>
            <pc:sldMk cId="182566815" sldId="3602"/>
            <ac:spMk id="2" creationId="{AF78C9EE-B9B3-23C4-2185-980BC530B23F}"/>
          </ac:spMkLst>
        </pc:spChg>
        <pc:spChg chg="mod">
          <ac:chgData name="Jeans, C. Karen" userId="S::c.karen.jeans@va.gov::00c3bc53-3dd4-4359-9a71-7f90200e3ef0" providerId="AD" clId="Web-{AD127EB5-1856-C0A7-69D5-0D6005CF7F27}" dt="2023-12-17T23:30:23.862" v="1604" actId="1076"/>
          <ac:spMkLst>
            <pc:docMk/>
            <pc:sldMk cId="182566815" sldId="3602"/>
            <ac:spMk id="3" creationId="{D0E65D06-74D9-F3D5-861B-631ABDF8B934}"/>
          </ac:spMkLst>
        </pc:spChg>
      </pc:sldChg>
      <pc:sldChg chg="modSp add replId">
        <pc:chgData name="Jeans, C. Karen" userId="S::c.karen.jeans@va.gov::00c3bc53-3dd4-4359-9a71-7f90200e3ef0" providerId="AD" clId="Web-{AD127EB5-1856-C0A7-69D5-0D6005CF7F27}" dt="2023-12-17T22:58:24.859" v="1111" actId="20577"/>
        <pc:sldMkLst>
          <pc:docMk/>
          <pc:sldMk cId="726658181" sldId="3603"/>
        </pc:sldMkLst>
        <pc:spChg chg="mod">
          <ac:chgData name="Jeans, C. Karen" userId="S::c.karen.jeans@va.gov::00c3bc53-3dd4-4359-9a71-7f90200e3ef0" providerId="AD" clId="Web-{AD127EB5-1856-C0A7-69D5-0D6005CF7F27}" dt="2023-12-17T22:31:10.611" v="441" actId="14100"/>
          <ac:spMkLst>
            <pc:docMk/>
            <pc:sldMk cId="726658181" sldId="3603"/>
            <ac:spMk id="2" creationId="{FCDA71CF-D4AE-42D6-BC6C-7594AC5BB4D1}"/>
          </ac:spMkLst>
        </pc:spChg>
        <pc:spChg chg="mod">
          <ac:chgData name="Jeans, C. Karen" userId="S::c.karen.jeans@va.gov::00c3bc53-3dd4-4359-9a71-7f90200e3ef0" providerId="AD" clId="Web-{AD127EB5-1856-C0A7-69D5-0D6005CF7F27}" dt="2023-12-17T22:58:24.859" v="1111" actId="20577"/>
          <ac:spMkLst>
            <pc:docMk/>
            <pc:sldMk cId="726658181" sldId="3603"/>
            <ac:spMk id="3" creationId="{79D1E248-2363-4F8F-81B3-740F49FF7A77}"/>
          </ac:spMkLst>
        </pc:spChg>
      </pc:sldChg>
      <pc:sldChg chg="modSp new">
        <pc:chgData name="Jeans, C. Karen" userId="S::c.karen.jeans@va.gov::00c3bc53-3dd4-4359-9a71-7f90200e3ef0" providerId="AD" clId="Web-{AD127EB5-1856-C0A7-69D5-0D6005CF7F27}" dt="2023-12-17T23:13:56.001" v="1360"/>
        <pc:sldMkLst>
          <pc:docMk/>
          <pc:sldMk cId="3985465261" sldId="3604"/>
        </pc:sldMkLst>
        <pc:spChg chg="mod">
          <ac:chgData name="Jeans, C. Karen" userId="S::c.karen.jeans@va.gov::00c3bc53-3dd4-4359-9a71-7f90200e3ef0" providerId="AD" clId="Web-{AD127EB5-1856-C0A7-69D5-0D6005CF7F27}" dt="2023-12-17T23:13:56.001" v="1360"/>
          <ac:spMkLst>
            <pc:docMk/>
            <pc:sldMk cId="3985465261" sldId="3604"/>
            <ac:spMk id="2" creationId="{F28C85E1-E41F-7AA5-9A63-4D4740DDF3EE}"/>
          </ac:spMkLst>
        </pc:spChg>
        <pc:spChg chg="mod">
          <ac:chgData name="Jeans, C. Karen" userId="S::c.karen.jeans@va.gov::00c3bc53-3dd4-4359-9a71-7f90200e3ef0" providerId="AD" clId="Web-{AD127EB5-1856-C0A7-69D5-0D6005CF7F27}" dt="2023-12-17T23:13:38.016" v="1359" actId="1076"/>
          <ac:spMkLst>
            <pc:docMk/>
            <pc:sldMk cId="3985465261" sldId="3604"/>
            <ac:spMk id="3" creationId="{C2AAA1AB-4C5B-8EC2-3DEC-63170C74D05D}"/>
          </ac:spMkLst>
        </pc:spChg>
      </pc:sldChg>
      <pc:sldChg chg="modSp add replId">
        <pc:chgData name="Jeans, C. Karen" userId="S::c.karen.jeans@va.gov::00c3bc53-3dd4-4359-9a71-7f90200e3ef0" providerId="AD" clId="Web-{AD127EB5-1856-C0A7-69D5-0D6005CF7F27}" dt="2023-12-17T23:21:33.024" v="1452" actId="20577"/>
        <pc:sldMkLst>
          <pc:docMk/>
          <pc:sldMk cId="3941332576" sldId="3605"/>
        </pc:sldMkLst>
        <pc:spChg chg="mod">
          <ac:chgData name="Jeans, C. Karen" userId="S::c.karen.jeans@va.gov::00c3bc53-3dd4-4359-9a71-7f90200e3ef0" providerId="AD" clId="Web-{AD127EB5-1856-C0A7-69D5-0D6005CF7F27}" dt="2023-12-17T23:21:19.508" v="1447" actId="20577"/>
          <ac:spMkLst>
            <pc:docMk/>
            <pc:sldMk cId="3941332576" sldId="3605"/>
            <ac:spMk id="2" creationId="{AF78C9EE-B9B3-23C4-2185-980BC530B23F}"/>
          </ac:spMkLst>
        </pc:spChg>
        <pc:spChg chg="mod">
          <ac:chgData name="Jeans, C. Karen" userId="S::c.karen.jeans@va.gov::00c3bc53-3dd4-4359-9a71-7f90200e3ef0" providerId="AD" clId="Web-{AD127EB5-1856-C0A7-69D5-0D6005CF7F27}" dt="2023-12-17T23:21:33.024" v="1452" actId="20577"/>
          <ac:spMkLst>
            <pc:docMk/>
            <pc:sldMk cId="3941332576" sldId="3605"/>
            <ac:spMk id="3" creationId="{D0E65D06-74D9-F3D5-861B-631ABDF8B934}"/>
          </ac:spMkLst>
        </pc:spChg>
      </pc:sldChg>
    </pc:docChg>
  </pc:docChgLst>
  <pc:docChgLst>
    <pc:chgData name="Laracuente, Antonio J" userId="f26025aa-017e-46da-97dd-4f9d498fb15b" providerId="ADAL" clId="{3A2A9A03-2512-4792-AED4-819157C6355B}"/>
    <pc:docChg chg="undo custSel addSld delSld modSld sldOrd">
      <pc:chgData name="Laracuente, Antonio J" userId="f26025aa-017e-46da-97dd-4f9d498fb15b" providerId="ADAL" clId="{3A2A9A03-2512-4792-AED4-819157C6355B}" dt="2023-12-19T14:32:58.866" v="4809" actId="20577"/>
      <pc:docMkLst>
        <pc:docMk/>
      </pc:docMkLst>
      <pc:sldChg chg="modSp mod delCm">
        <pc:chgData name="Laracuente, Antonio J" userId="f26025aa-017e-46da-97dd-4f9d498fb15b" providerId="ADAL" clId="{3A2A9A03-2512-4792-AED4-819157C6355B}" dt="2023-12-19T14:12:01.797" v="4381"/>
        <pc:sldMkLst>
          <pc:docMk/>
          <pc:sldMk cId="3783721867" sldId="257"/>
        </pc:sldMkLst>
        <pc:spChg chg="mod">
          <ac:chgData name="Laracuente, Antonio J" userId="f26025aa-017e-46da-97dd-4f9d498fb15b" providerId="ADAL" clId="{3A2A9A03-2512-4792-AED4-819157C6355B}" dt="2023-12-15T10:31:52.789" v="4068" actId="20577"/>
          <ac:spMkLst>
            <pc:docMk/>
            <pc:sldMk cId="3783721867" sldId="257"/>
            <ac:spMk id="3" creationId="{6C832279-29AB-4E4A-BE91-C51204D012A0}"/>
          </ac:spMkLst>
        </pc:spChg>
      </pc:sldChg>
      <pc:sldChg chg="modSp mod">
        <pc:chgData name="Laracuente, Antonio J" userId="f26025aa-017e-46da-97dd-4f9d498fb15b" providerId="ADAL" clId="{3A2A9A03-2512-4792-AED4-819157C6355B}" dt="2023-12-05T22:03:11.482" v="104" actId="6549"/>
        <pc:sldMkLst>
          <pc:docMk/>
          <pc:sldMk cId="753555788" sldId="277"/>
        </pc:sldMkLst>
        <pc:spChg chg="mod">
          <ac:chgData name="Laracuente, Antonio J" userId="f26025aa-017e-46da-97dd-4f9d498fb15b" providerId="ADAL" clId="{3A2A9A03-2512-4792-AED4-819157C6355B}" dt="2023-12-05T22:03:11.482" v="104" actId="6549"/>
          <ac:spMkLst>
            <pc:docMk/>
            <pc:sldMk cId="753555788" sldId="277"/>
            <ac:spMk id="4" creationId="{925B5FBC-47C1-48E9-8F6F-B1A01A48A8AA}"/>
          </ac:spMkLst>
        </pc:spChg>
      </pc:sldChg>
      <pc:sldChg chg="modSp mod delCm">
        <pc:chgData name="Laracuente, Antonio J" userId="f26025aa-017e-46da-97dd-4f9d498fb15b" providerId="ADAL" clId="{3A2A9A03-2512-4792-AED4-819157C6355B}" dt="2023-12-19T14:11:50.230" v="4380"/>
        <pc:sldMkLst>
          <pc:docMk/>
          <pc:sldMk cId="2949336715" sldId="3585"/>
        </pc:sldMkLst>
        <pc:spChg chg="mod">
          <ac:chgData name="Laracuente, Antonio J" userId="f26025aa-017e-46da-97dd-4f9d498fb15b" providerId="ADAL" clId="{3A2A9A03-2512-4792-AED4-819157C6355B}" dt="2023-12-05T22:03:54.082" v="162" actId="6549"/>
          <ac:spMkLst>
            <pc:docMk/>
            <pc:sldMk cId="2949336715" sldId="3585"/>
            <ac:spMk id="6" creationId="{B576CEE1-B8B6-4853-A174-DD762E626E11}"/>
          </ac:spMkLst>
        </pc:spChg>
      </pc:sldChg>
      <pc:sldChg chg="del">
        <pc:chgData name="Laracuente, Antonio J" userId="f26025aa-017e-46da-97dd-4f9d498fb15b" providerId="ADAL" clId="{3A2A9A03-2512-4792-AED4-819157C6355B}" dt="2023-12-05T22:04:24.584" v="163" actId="47"/>
        <pc:sldMkLst>
          <pc:docMk/>
          <pc:sldMk cId="3593199957" sldId="3587"/>
        </pc:sldMkLst>
      </pc:sldChg>
      <pc:sldChg chg="del">
        <pc:chgData name="Laracuente, Antonio J" userId="f26025aa-017e-46da-97dd-4f9d498fb15b" providerId="ADAL" clId="{3A2A9A03-2512-4792-AED4-819157C6355B}" dt="2023-12-05T22:04:24.584" v="163" actId="47"/>
        <pc:sldMkLst>
          <pc:docMk/>
          <pc:sldMk cId="3915511108" sldId="3588"/>
        </pc:sldMkLst>
      </pc:sldChg>
      <pc:sldChg chg="del">
        <pc:chgData name="Laracuente, Antonio J" userId="f26025aa-017e-46da-97dd-4f9d498fb15b" providerId="ADAL" clId="{3A2A9A03-2512-4792-AED4-819157C6355B}" dt="2023-12-05T22:04:24.584" v="163" actId="47"/>
        <pc:sldMkLst>
          <pc:docMk/>
          <pc:sldMk cId="3511602601" sldId="3589"/>
        </pc:sldMkLst>
      </pc:sldChg>
      <pc:sldChg chg="del">
        <pc:chgData name="Laracuente, Antonio J" userId="f26025aa-017e-46da-97dd-4f9d498fb15b" providerId="ADAL" clId="{3A2A9A03-2512-4792-AED4-819157C6355B}" dt="2023-12-05T22:04:24.584" v="163" actId="47"/>
        <pc:sldMkLst>
          <pc:docMk/>
          <pc:sldMk cId="1404754189" sldId="3590"/>
        </pc:sldMkLst>
      </pc:sldChg>
      <pc:sldChg chg="del">
        <pc:chgData name="Laracuente, Antonio J" userId="f26025aa-017e-46da-97dd-4f9d498fb15b" providerId="ADAL" clId="{3A2A9A03-2512-4792-AED4-819157C6355B}" dt="2023-12-05T22:04:33.398" v="164" actId="47"/>
        <pc:sldMkLst>
          <pc:docMk/>
          <pc:sldMk cId="2688717384" sldId="3591"/>
        </pc:sldMkLst>
      </pc:sldChg>
      <pc:sldChg chg="del">
        <pc:chgData name="Laracuente, Antonio J" userId="f26025aa-017e-46da-97dd-4f9d498fb15b" providerId="ADAL" clId="{3A2A9A03-2512-4792-AED4-819157C6355B}" dt="2023-12-05T22:04:33.398" v="164" actId="47"/>
        <pc:sldMkLst>
          <pc:docMk/>
          <pc:sldMk cId="3415879936" sldId="3592"/>
        </pc:sldMkLst>
      </pc:sldChg>
      <pc:sldChg chg="modSp mod delCm">
        <pc:chgData name="Laracuente, Antonio J" userId="f26025aa-017e-46da-97dd-4f9d498fb15b" providerId="ADAL" clId="{3A2A9A03-2512-4792-AED4-819157C6355B}" dt="2023-12-19T14:12:16.460" v="4382"/>
        <pc:sldMkLst>
          <pc:docMk/>
          <pc:sldMk cId="2354815721" sldId="3593"/>
        </pc:sldMkLst>
        <pc:spChg chg="mod">
          <ac:chgData name="Laracuente, Antonio J" userId="f26025aa-017e-46da-97dd-4f9d498fb15b" providerId="ADAL" clId="{3A2A9A03-2512-4792-AED4-819157C6355B}" dt="2023-12-15T10:32:42.220" v="4106" actId="6549"/>
          <ac:spMkLst>
            <pc:docMk/>
            <pc:sldMk cId="2354815721" sldId="3593"/>
            <ac:spMk id="3" creationId="{79D1E248-2363-4F8F-81B3-740F49FF7A77}"/>
          </ac:spMkLst>
        </pc:spChg>
      </pc:sldChg>
      <pc:sldChg chg="modSp new mod delCm">
        <pc:chgData name="Laracuente, Antonio J" userId="f26025aa-017e-46da-97dd-4f9d498fb15b" providerId="ADAL" clId="{3A2A9A03-2512-4792-AED4-819157C6355B}" dt="2023-12-19T14:17:40.437" v="4613"/>
        <pc:sldMkLst>
          <pc:docMk/>
          <pc:sldMk cId="1724516763" sldId="3594"/>
        </pc:sldMkLst>
        <pc:spChg chg="mod">
          <ac:chgData name="Laracuente, Antonio J" userId="f26025aa-017e-46da-97dd-4f9d498fb15b" providerId="ADAL" clId="{3A2A9A03-2512-4792-AED4-819157C6355B}" dt="2023-12-08T18:32:22.662" v="2220" actId="20577"/>
          <ac:spMkLst>
            <pc:docMk/>
            <pc:sldMk cId="1724516763" sldId="3594"/>
            <ac:spMk id="2" creationId="{2D860F9D-0AF4-26EF-FBAD-61C356B1656B}"/>
          </ac:spMkLst>
        </pc:spChg>
        <pc:spChg chg="mod">
          <ac:chgData name="Laracuente, Antonio J" userId="f26025aa-017e-46da-97dd-4f9d498fb15b" providerId="ADAL" clId="{3A2A9A03-2512-4792-AED4-819157C6355B}" dt="2023-12-19T14:17:14.612" v="4612" actId="1076"/>
          <ac:spMkLst>
            <pc:docMk/>
            <pc:sldMk cId="1724516763" sldId="3594"/>
            <ac:spMk id="3" creationId="{AD15D326-2146-827B-348C-0B78C6AC7D65}"/>
          </ac:spMkLst>
        </pc:spChg>
      </pc:sldChg>
      <pc:sldChg chg="modSp new mod ord">
        <pc:chgData name="Laracuente, Antonio J" userId="f26025aa-017e-46da-97dd-4f9d498fb15b" providerId="ADAL" clId="{3A2A9A03-2512-4792-AED4-819157C6355B}" dt="2023-12-19T14:18:18.723" v="4616"/>
        <pc:sldMkLst>
          <pc:docMk/>
          <pc:sldMk cId="3040854820" sldId="3595"/>
        </pc:sldMkLst>
        <pc:spChg chg="mod">
          <ac:chgData name="Laracuente, Antonio J" userId="f26025aa-017e-46da-97dd-4f9d498fb15b" providerId="ADAL" clId="{3A2A9A03-2512-4792-AED4-819157C6355B}" dt="2023-12-08T18:34:17.516" v="2277" actId="20577"/>
          <ac:spMkLst>
            <pc:docMk/>
            <pc:sldMk cId="3040854820" sldId="3595"/>
            <ac:spMk id="2" creationId="{85272D4D-C278-4C39-B34E-89E38998B2A8}"/>
          </ac:spMkLst>
        </pc:spChg>
        <pc:spChg chg="mod">
          <ac:chgData name="Laracuente, Antonio J" userId="f26025aa-017e-46da-97dd-4f9d498fb15b" providerId="ADAL" clId="{3A2A9A03-2512-4792-AED4-819157C6355B}" dt="2023-12-08T18:41:36.511" v="2586" actId="20577"/>
          <ac:spMkLst>
            <pc:docMk/>
            <pc:sldMk cId="3040854820" sldId="3595"/>
            <ac:spMk id="3" creationId="{DAD15276-0DA4-471D-82CF-035C64D0CED9}"/>
          </ac:spMkLst>
        </pc:spChg>
      </pc:sldChg>
      <pc:sldChg chg="modSp new mod">
        <pc:chgData name="Laracuente, Antonio J" userId="f26025aa-017e-46da-97dd-4f9d498fb15b" providerId="ADAL" clId="{3A2A9A03-2512-4792-AED4-819157C6355B}" dt="2023-12-08T18:58:38.421" v="3878" actId="20577"/>
        <pc:sldMkLst>
          <pc:docMk/>
          <pc:sldMk cId="4071787078" sldId="3596"/>
        </pc:sldMkLst>
        <pc:spChg chg="mod">
          <ac:chgData name="Laracuente, Antonio J" userId="f26025aa-017e-46da-97dd-4f9d498fb15b" providerId="ADAL" clId="{3A2A9A03-2512-4792-AED4-819157C6355B}" dt="2023-12-08T18:44:12.221" v="2702" actId="20577"/>
          <ac:spMkLst>
            <pc:docMk/>
            <pc:sldMk cId="4071787078" sldId="3596"/>
            <ac:spMk id="2" creationId="{86BCAED1-C1A8-757E-2F08-16FEE0A4E7B0}"/>
          </ac:spMkLst>
        </pc:spChg>
        <pc:spChg chg="mod">
          <ac:chgData name="Laracuente, Antonio J" userId="f26025aa-017e-46da-97dd-4f9d498fb15b" providerId="ADAL" clId="{3A2A9A03-2512-4792-AED4-819157C6355B}" dt="2023-12-08T18:58:38.421" v="3878" actId="20577"/>
          <ac:spMkLst>
            <pc:docMk/>
            <pc:sldMk cId="4071787078" sldId="3596"/>
            <ac:spMk id="3" creationId="{8B6B1EC0-0592-121B-1C43-34AAA9CB7168}"/>
          </ac:spMkLst>
        </pc:spChg>
      </pc:sldChg>
      <pc:sldChg chg="modSp new mod">
        <pc:chgData name="Laracuente, Antonio J" userId="f26025aa-017e-46da-97dd-4f9d498fb15b" providerId="ADAL" clId="{3A2A9A03-2512-4792-AED4-819157C6355B}" dt="2023-12-19T14:22:51.649" v="4763" actId="20577"/>
        <pc:sldMkLst>
          <pc:docMk/>
          <pc:sldMk cId="1125378631" sldId="3597"/>
        </pc:sldMkLst>
        <pc:spChg chg="mod">
          <ac:chgData name="Laracuente, Antonio J" userId="f26025aa-017e-46da-97dd-4f9d498fb15b" providerId="ADAL" clId="{3A2A9A03-2512-4792-AED4-819157C6355B}" dt="2023-12-08T18:44:30.685" v="2729" actId="20577"/>
          <ac:spMkLst>
            <pc:docMk/>
            <pc:sldMk cId="1125378631" sldId="3597"/>
            <ac:spMk id="2" creationId="{AF78C9EE-B9B3-23C4-2185-980BC530B23F}"/>
          </ac:spMkLst>
        </pc:spChg>
        <pc:spChg chg="mod">
          <ac:chgData name="Laracuente, Antonio J" userId="f26025aa-017e-46da-97dd-4f9d498fb15b" providerId="ADAL" clId="{3A2A9A03-2512-4792-AED4-819157C6355B}" dt="2023-12-19T14:22:51.649" v="4763" actId="20577"/>
          <ac:spMkLst>
            <pc:docMk/>
            <pc:sldMk cId="1125378631" sldId="3597"/>
            <ac:spMk id="3" creationId="{D0E65D06-74D9-F3D5-861B-631ABDF8B934}"/>
          </ac:spMkLst>
        </pc:spChg>
      </pc:sldChg>
      <pc:sldChg chg="modSp new mod">
        <pc:chgData name="Laracuente, Antonio J" userId="f26025aa-017e-46da-97dd-4f9d498fb15b" providerId="ADAL" clId="{3A2A9A03-2512-4792-AED4-819157C6355B}" dt="2023-12-08T18:49:45.329" v="3166" actId="6549"/>
        <pc:sldMkLst>
          <pc:docMk/>
          <pc:sldMk cId="2120796716" sldId="3598"/>
        </pc:sldMkLst>
        <pc:spChg chg="mod">
          <ac:chgData name="Laracuente, Antonio J" userId="f26025aa-017e-46da-97dd-4f9d498fb15b" providerId="ADAL" clId="{3A2A9A03-2512-4792-AED4-819157C6355B}" dt="2023-12-08T18:49:45.329" v="3166" actId="6549"/>
          <ac:spMkLst>
            <pc:docMk/>
            <pc:sldMk cId="2120796716" sldId="3598"/>
            <ac:spMk id="2" creationId="{A081D9C7-BD40-4662-E977-9D9F046C9F89}"/>
          </ac:spMkLst>
        </pc:spChg>
        <pc:spChg chg="mod">
          <ac:chgData name="Laracuente, Antonio J" userId="f26025aa-017e-46da-97dd-4f9d498fb15b" providerId="ADAL" clId="{3A2A9A03-2512-4792-AED4-819157C6355B}" dt="2023-12-08T18:49:42.637" v="3165" actId="5793"/>
          <ac:spMkLst>
            <pc:docMk/>
            <pc:sldMk cId="2120796716" sldId="3598"/>
            <ac:spMk id="3" creationId="{EFC468F6-5FB7-E3A3-37EC-255A9A86D635}"/>
          </ac:spMkLst>
        </pc:spChg>
      </pc:sldChg>
      <pc:sldChg chg="modSp new mod">
        <pc:chgData name="Laracuente, Antonio J" userId="f26025aa-017e-46da-97dd-4f9d498fb15b" providerId="ADAL" clId="{3A2A9A03-2512-4792-AED4-819157C6355B}" dt="2023-12-08T18:55:44.039" v="3805" actId="5793"/>
        <pc:sldMkLst>
          <pc:docMk/>
          <pc:sldMk cId="516355374" sldId="3599"/>
        </pc:sldMkLst>
        <pc:spChg chg="mod">
          <ac:chgData name="Laracuente, Antonio J" userId="f26025aa-017e-46da-97dd-4f9d498fb15b" providerId="ADAL" clId="{3A2A9A03-2512-4792-AED4-819157C6355B}" dt="2023-12-08T18:50:05.373" v="3198" actId="20577"/>
          <ac:spMkLst>
            <pc:docMk/>
            <pc:sldMk cId="516355374" sldId="3599"/>
            <ac:spMk id="2" creationId="{6ED2ED5F-B42B-9597-80D6-EB46FB11EA5A}"/>
          </ac:spMkLst>
        </pc:spChg>
        <pc:spChg chg="mod">
          <ac:chgData name="Laracuente, Antonio J" userId="f26025aa-017e-46da-97dd-4f9d498fb15b" providerId="ADAL" clId="{3A2A9A03-2512-4792-AED4-819157C6355B}" dt="2023-12-08T18:55:44.039" v="3805" actId="5793"/>
          <ac:spMkLst>
            <pc:docMk/>
            <pc:sldMk cId="516355374" sldId="3599"/>
            <ac:spMk id="3" creationId="{A0F8A913-2ECD-8047-BFC6-8F417ADAE61B}"/>
          </ac:spMkLst>
        </pc:spChg>
      </pc:sldChg>
      <pc:sldChg chg="modSp add mod">
        <pc:chgData name="Laracuente, Antonio J" userId="f26025aa-017e-46da-97dd-4f9d498fb15b" providerId="ADAL" clId="{3A2A9A03-2512-4792-AED4-819157C6355B}" dt="2023-12-14T10:51:10.921" v="3879" actId="1076"/>
        <pc:sldMkLst>
          <pc:docMk/>
          <pc:sldMk cId="38142049" sldId="3600"/>
        </pc:sldMkLst>
        <pc:spChg chg="mod">
          <ac:chgData name="Laracuente, Antonio J" userId="f26025aa-017e-46da-97dd-4f9d498fb15b" providerId="ADAL" clId="{3A2A9A03-2512-4792-AED4-819157C6355B}" dt="2023-12-14T10:51:10.921" v="3879" actId="1076"/>
          <ac:spMkLst>
            <pc:docMk/>
            <pc:sldMk cId="38142049" sldId="3600"/>
            <ac:spMk id="3" creationId="{A0F8A913-2ECD-8047-BFC6-8F417ADAE61B}"/>
          </ac:spMkLst>
        </pc:spChg>
      </pc:sldChg>
      <pc:sldChg chg="add del">
        <pc:chgData name="Laracuente, Antonio J" userId="f26025aa-017e-46da-97dd-4f9d498fb15b" providerId="ADAL" clId="{3A2A9A03-2512-4792-AED4-819157C6355B}" dt="2023-12-15T10:33:16.687" v="4111" actId="47"/>
        <pc:sldMkLst>
          <pc:docMk/>
          <pc:sldMk cId="3244961421" sldId="3601"/>
        </pc:sldMkLst>
      </pc:sldChg>
      <pc:sldChg chg="modSp add mod ord">
        <pc:chgData name="Laracuente, Antonio J" userId="f26025aa-017e-46da-97dd-4f9d498fb15b" providerId="ADAL" clId="{3A2A9A03-2512-4792-AED4-819157C6355B}" dt="2023-12-19T14:32:58.866" v="4809" actId="20577"/>
        <pc:sldMkLst>
          <pc:docMk/>
          <pc:sldMk cId="182566815" sldId="3602"/>
        </pc:sldMkLst>
        <pc:spChg chg="mod">
          <ac:chgData name="Laracuente, Antonio J" userId="f26025aa-017e-46da-97dd-4f9d498fb15b" providerId="ADAL" clId="{3A2A9A03-2512-4792-AED4-819157C6355B}" dt="2023-12-15T10:33:23.153" v="4120" actId="20577"/>
          <ac:spMkLst>
            <pc:docMk/>
            <pc:sldMk cId="182566815" sldId="3602"/>
            <ac:spMk id="2" creationId="{AF78C9EE-B9B3-23C4-2185-980BC530B23F}"/>
          </ac:spMkLst>
        </pc:spChg>
        <pc:spChg chg="mod">
          <ac:chgData name="Laracuente, Antonio J" userId="f26025aa-017e-46da-97dd-4f9d498fb15b" providerId="ADAL" clId="{3A2A9A03-2512-4792-AED4-819157C6355B}" dt="2023-12-19T14:32:58.866" v="4809" actId="20577"/>
          <ac:spMkLst>
            <pc:docMk/>
            <pc:sldMk cId="182566815" sldId="3602"/>
            <ac:spMk id="3" creationId="{D0E65D06-74D9-F3D5-861B-631ABDF8B934}"/>
          </ac:spMkLst>
        </pc:spChg>
      </pc:sldChg>
      <pc:sldChg chg="modSp mod">
        <pc:chgData name="Laracuente, Antonio J" userId="f26025aa-017e-46da-97dd-4f9d498fb15b" providerId="ADAL" clId="{3A2A9A03-2512-4792-AED4-819157C6355B}" dt="2023-12-19T14:12:50.288" v="4387" actId="20577"/>
        <pc:sldMkLst>
          <pc:docMk/>
          <pc:sldMk cId="726658181" sldId="3603"/>
        </pc:sldMkLst>
        <pc:spChg chg="mod">
          <ac:chgData name="Laracuente, Antonio J" userId="f26025aa-017e-46da-97dd-4f9d498fb15b" providerId="ADAL" clId="{3A2A9A03-2512-4792-AED4-819157C6355B}" dt="2023-12-19T14:12:50.288" v="4387" actId="20577"/>
          <ac:spMkLst>
            <pc:docMk/>
            <pc:sldMk cId="726658181" sldId="3603"/>
            <ac:spMk id="3" creationId="{79D1E248-2363-4F8F-81B3-740F49FF7A77}"/>
          </ac:spMkLst>
        </pc:spChg>
      </pc:sldChg>
      <pc:sldChg chg="modSp mod">
        <pc:chgData name="Laracuente, Antonio J" userId="f26025aa-017e-46da-97dd-4f9d498fb15b" providerId="ADAL" clId="{3A2A9A03-2512-4792-AED4-819157C6355B}" dt="2023-12-19T14:22:03.132" v="4744" actId="12"/>
        <pc:sldMkLst>
          <pc:docMk/>
          <pc:sldMk cId="3985465261" sldId="3604"/>
        </pc:sldMkLst>
        <pc:spChg chg="mod">
          <ac:chgData name="Laracuente, Antonio J" userId="f26025aa-017e-46da-97dd-4f9d498fb15b" providerId="ADAL" clId="{3A2A9A03-2512-4792-AED4-819157C6355B}" dt="2023-12-19T14:22:03.132" v="4744" actId="12"/>
          <ac:spMkLst>
            <pc:docMk/>
            <pc:sldMk cId="3985465261" sldId="3604"/>
            <ac:spMk id="3" creationId="{C2AAA1AB-4C5B-8EC2-3DEC-63170C74D05D}"/>
          </ac:spMkLst>
        </pc:spChg>
      </pc:sldChg>
      <pc:sldChg chg="addSp delSp modSp new mod">
        <pc:chgData name="Laracuente, Antonio J" userId="f26025aa-017e-46da-97dd-4f9d498fb15b" providerId="ADAL" clId="{3A2A9A03-2512-4792-AED4-819157C6355B}" dt="2023-12-19T14:28:25.369" v="4778" actId="20577"/>
        <pc:sldMkLst>
          <pc:docMk/>
          <pc:sldMk cId="1142644890" sldId="3611"/>
        </pc:sldMkLst>
        <pc:spChg chg="mod">
          <ac:chgData name="Laracuente, Antonio J" userId="f26025aa-017e-46da-97dd-4f9d498fb15b" providerId="ADAL" clId="{3A2A9A03-2512-4792-AED4-819157C6355B}" dt="2023-12-19T14:28:25.369" v="4778" actId="20577"/>
          <ac:spMkLst>
            <pc:docMk/>
            <pc:sldMk cId="1142644890" sldId="3611"/>
            <ac:spMk id="2" creationId="{B2EB9C98-156D-8FCD-FB66-63B0B7BF0A1A}"/>
          </ac:spMkLst>
        </pc:spChg>
        <pc:spChg chg="del mod">
          <ac:chgData name="Laracuente, Antonio J" userId="f26025aa-017e-46da-97dd-4f9d498fb15b" providerId="ADAL" clId="{3A2A9A03-2512-4792-AED4-819157C6355B}" dt="2023-12-19T14:28:17.044" v="4765" actId="22"/>
          <ac:spMkLst>
            <pc:docMk/>
            <pc:sldMk cId="1142644890" sldId="3611"/>
            <ac:spMk id="3" creationId="{E4262D9A-7E51-D09A-D956-F6729D775337}"/>
          </ac:spMkLst>
        </pc:spChg>
        <pc:picChg chg="add mod ord">
          <ac:chgData name="Laracuente, Antonio J" userId="f26025aa-017e-46da-97dd-4f9d498fb15b" providerId="ADAL" clId="{3A2A9A03-2512-4792-AED4-819157C6355B}" dt="2023-12-19T14:28:21.464" v="4767" actId="14100"/>
          <ac:picMkLst>
            <pc:docMk/>
            <pc:sldMk cId="1142644890" sldId="3611"/>
            <ac:picMk id="6" creationId="{6B08225A-DFE8-10FD-7E29-D3576D238E25}"/>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CBA919-608D-4D89-AD1F-7F69AD4154BF}" type="datetimeFigureOut">
              <a:rPr lang="en-US" smtClean="0"/>
              <a:t>12/2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D83994-8411-41F0-92A0-615B04B890D5}" type="slidenum">
              <a:rPr lang="en-US" smtClean="0"/>
              <a:t>‹#›</a:t>
            </a:fld>
            <a:endParaRPr lang="en-US"/>
          </a:p>
        </p:txBody>
      </p:sp>
    </p:spTree>
    <p:extLst>
      <p:ext uri="{BB962C8B-B14F-4D97-AF65-F5344CB8AC3E}">
        <p14:creationId xmlns:p14="http://schemas.microsoft.com/office/powerpoint/2010/main" val="39560085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AEF2246F-B97D-A340-AC75-47532D5014D8}" type="slidenum">
              <a:rPr lang="en-US" smtClean="0"/>
              <a:t>2</a:t>
            </a:fld>
            <a:endParaRPr lang="en-US"/>
          </a:p>
        </p:txBody>
      </p:sp>
    </p:spTree>
    <p:extLst>
      <p:ext uri="{BB962C8B-B14F-4D97-AF65-F5344CB8AC3E}">
        <p14:creationId xmlns:p14="http://schemas.microsoft.com/office/powerpoint/2010/main" val="25003697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st VA researchers have a dual appointment with a university / academic affiliate</a:t>
            </a:r>
          </a:p>
          <a:p>
            <a:r>
              <a:rPr lang="en-US"/>
              <a:t>Historically, many are compensated part-time by VA and part time by other sources (e.g. university, NPC) for work done at VA funded by different sources</a:t>
            </a:r>
          </a:p>
          <a:p>
            <a:r>
              <a:rPr lang="en-US"/>
              <a:t>This applies to Principal Investigators as well as other employees working on the research</a:t>
            </a:r>
          </a:p>
        </p:txBody>
      </p:sp>
      <p:sp>
        <p:nvSpPr>
          <p:cNvPr id="4" name="Slide Number Placeholder 3"/>
          <p:cNvSpPr>
            <a:spLocks noGrp="1"/>
          </p:cNvSpPr>
          <p:nvPr>
            <p:ph type="sldNum" sz="quarter" idx="5"/>
          </p:nvPr>
        </p:nvSpPr>
        <p:spPr/>
        <p:txBody>
          <a:bodyPr/>
          <a:lstStyle/>
          <a:p>
            <a:fld id="{62D83994-8411-41F0-92A0-615B04B890D5}" type="slidenum">
              <a:rPr lang="en-US" smtClean="0"/>
              <a:t>3</a:t>
            </a:fld>
            <a:endParaRPr lang="en-US"/>
          </a:p>
        </p:txBody>
      </p:sp>
    </p:spTree>
    <p:extLst>
      <p:ext uri="{BB962C8B-B14F-4D97-AF65-F5344CB8AC3E}">
        <p14:creationId xmlns:p14="http://schemas.microsoft.com/office/powerpoint/2010/main" val="1831006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EF2246F-B97D-A340-AC75-47532D5014D8}" type="slidenum">
              <a:rPr lang="en-US" smtClean="0"/>
              <a:t>4</a:t>
            </a:fld>
            <a:endParaRPr lang="en-US"/>
          </a:p>
        </p:txBody>
      </p:sp>
    </p:spTree>
    <p:extLst>
      <p:ext uri="{BB962C8B-B14F-4D97-AF65-F5344CB8AC3E}">
        <p14:creationId xmlns:p14="http://schemas.microsoft.com/office/powerpoint/2010/main" val="34226925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1E847A8-CF56-4002-8CBB-68FB60E1C140}" type="datetime1">
              <a:rPr lang="en-US" smtClean="0"/>
              <a:t>12/26/2023</a:t>
            </a:fld>
            <a:endParaRPr lang="en-US"/>
          </a:p>
        </p:txBody>
      </p:sp>
      <p:sp>
        <p:nvSpPr>
          <p:cNvPr id="5" name="Footer Placeholder 4"/>
          <p:cNvSpPr>
            <a:spLocks noGrp="1"/>
          </p:cNvSpPr>
          <p:nvPr>
            <p:ph type="ftr" sz="quarter" idx="11"/>
          </p:nvPr>
        </p:nvSpPr>
        <p:spPr/>
        <p:txBody>
          <a:bodyPr/>
          <a:lstStyle/>
          <a:p>
            <a:r>
              <a:rPr lang="en-US"/>
              <a:t>For questions, please use Q&amp;A box and address to “All Panelist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940567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9964F80-78AF-4EDE-8FE1-E227BF8C255E}" type="datetime1">
              <a:rPr lang="en-US" smtClean="0"/>
              <a:t>12/26/2023</a:t>
            </a:fld>
            <a:endParaRPr lang="en-US"/>
          </a:p>
        </p:txBody>
      </p:sp>
      <p:sp>
        <p:nvSpPr>
          <p:cNvPr id="5" name="Footer Placeholder 4"/>
          <p:cNvSpPr>
            <a:spLocks noGrp="1"/>
          </p:cNvSpPr>
          <p:nvPr>
            <p:ph type="ftr" sz="quarter" idx="11"/>
          </p:nvPr>
        </p:nvSpPr>
        <p:spPr/>
        <p:txBody>
          <a:bodyPr/>
          <a:lstStyle/>
          <a:p>
            <a:r>
              <a:rPr lang="en-US"/>
              <a:t>For questions, please use Q&amp;A box and address to “All Panelist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3951251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7EF134-2DAC-4F80-ACCE-C042811F93EF}" type="datetime1">
              <a:rPr lang="en-US" smtClean="0"/>
              <a:t>12/26/2023</a:t>
            </a:fld>
            <a:endParaRPr lang="en-US"/>
          </a:p>
        </p:txBody>
      </p:sp>
      <p:sp>
        <p:nvSpPr>
          <p:cNvPr id="5" name="Footer Placeholder 4"/>
          <p:cNvSpPr>
            <a:spLocks noGrp="1"/>
          </p:cNvSpPr>
          <p:nvPr>
            <p:ph type="ftr" sz="quarter" idx="11"/>
          </p:nvPr>
        </p:nvSpPr>
        <p:spPr/>
        <p:txBody>
          <a:bodyPr/>
          <a:lstStyle/>
          <a:p>
            <a:r>
              <a:rPr lang="en-US"/>
              <a:t>For questions, please use Q&amp;A box and address to “All Panelist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39775407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50EE7798-284D-44E6-BD33-EC3C7F4CA87C}" type="slidenum">
              <a:rPr lang="en-US" smtClean="0"/>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502554298"/>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3118081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7004649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2402663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19479993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405091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4496194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350132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1"/>
            </p:custDataLst>
            <p:extLst>
              <p:ext uri="{D42A27DB-BD31-4B8C-83A1-F6EECF244321}">
                <p14:modId xmlns:p14="http://schemas.microsoft.com/office/powerpoint/2010/main" val="1619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0145700-466C-4AE3-86E1-CCD0E058DD0A}" type="datetime1">
              <a:rPr lang="en-US" smtClean="0"/>
              <a:t>12/26/2023</a:t>
            </a:fld>
            <a:endParaRPr lang="en-US"/>
          </a:p>
        </p:txBody>
      </p:sp>
      <p:sp>
        <p:nvSpPr>
          <p:cNvPr id="5" name="Footer Placeholder 4"/>
          <p:cNvSpPr>
            <a:spLocks noGrp="1"/>
          </p:cNvSpPr>
          <p:nvPr>
            <p:ph type="ftr" sz="quarter" idx="11"/>
          </p:nvPr>
        </p:nvSpPr>
        <p:spPr/>
        <p:txBody>
          <a:bodyPr/>
          <a:lstStyle/>
          <a:p>
            <a:r>
              <a:rPr lang="en-US"/>
              <a:t>For questions, please use Q&amp;A box and address to “All Panelist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38616613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40408528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32366262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1E847A8-CF56-4002-8CBB-68FB60E1C140}" type="datetime1">
              <a:rPr lang="en-US" smtClean="0"/>
              <a:t>12/26/2023</a:t>
            </a:fld>
            <a:endParaRPr lang="en-US"/>
          </a:p>
        </p:txBody>
      </p:sp>
      <p:sp>
        <p:nvSpPr>
          <p:cNvPr id="5" name="Footer Placeholder 4"/>
          <p:cNvSpPr>
            <a:spLocks noGrp="1"/>
          </p:cNvSpPr>
          <p:nvPr>
            <p:ph type="ftr" sz="quarter" idx="11"/>
          </p:nvPr>
        </p:nvSpPr>
        <p:spPr/>
        <p:txBody>
          <a:bodyPr/>
          <a:lstStyle/>
          <a:p>
            <a:r>
              <a:rPr lang="en-US"/>
              <a:t>For questions, please use Q&amp;A box and address to “All Panelist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35578260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1"/>
            </p:custDataLst>
            <p:extLst>
              <p:ext uri="{D42A27DB-BD31-4B8C-83A1-F6EECF244321}">
                <p14:modId xmlns:p14="http://schemas.microsoft.com/office/powerpoint/2010/main" val="4269292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0145700-466C-4AE3-86E1-CCD0E058DD0A}" type="datetime1">
              <a:rPr lang="en-US" smtClean="0"/>
              <a:t>12/26/2023</a:t>
            </a:fld>
            <a:endParaRPr lang="en-US"/>
          </a:p>
        </p:txBody>
      </p:sp>
      <p:sp>
        <p:nvSpPr>
          <p:cNvPr id="5" name="Footer Placeholder 4"/>
          <p:cNvSpPr>
            <a:spLocks noGrp="1"/>
          </p:cNvSpPr>
          <p:nvPr>
            <p:ph type="ftr" sz="quarter" idx="11"/>
          </p:nvPr>
        </p:nvSpPr>
        <p:spPr/>
        <p:txBody>
          <a:bodyPr/>
          <a:lstStyle/>
          <a:p>
            <a:r>
              <a:rPr lang="en-US"/>
              <a:t>For questions, please use Q&amp;A box and address to “All Panelist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5864575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C929306-7994-4B75-9406-B76AD686070C}" type="datetime1">
              <a:rPr lang="en-US" smtClean="0"/>
              <a:t>12/26/2023</a:t>
            </a:fld>
            <a:endParaRPr lang="en-US"/>
          </a:p>
        </p:txBody>
      </p:sp>
      <p:sp>
        <p:nvSpPr>
          <p:cNvPr id="5" name="Footer Placeholder 4"/>
          <p:cNvSpPr>
            <a:spLocks noGrp="1"/>
          </p:cNvSpPr>
          <p:nvPr>
            <p:ph type="ftr" sz="quarter" idx="11"/>
          </p:nvPr>
        </p:nvSpPr>
        <p:spPr/>
        <p:txBody>
          <a:bodyPr/>
          <a:lstStyle/>
          <a:p>
            <a:r>
              <a:rPr lang="en-US"/>
              <a:t>For questions, please use Q&amp;A box and address to “All Panelist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53439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83A262E-687B-4511-92CD-CD3D63BAAB8F}" type="datetime1">
              <a:rPr lang="en-US" smtClean="0"/>
              <a:t>12/26/2023</a:t>
            </a:fld>
            <a:endParaRPr lang="en-US"/>
          </a:p>
        </p:txBody>
      </p:sp>
      <p:sp>
        <p:nvSpPr>
          <p:cNvPr id="6" name="Footer Placeholder 5"/>
          <p:cNvSpPr>
            <a:spLocks noGrp="1"/>
          </p:cNvSpPr>
          <p:nvPr>
            <p:ph type="ftr" sz="quarter" idx="11"/>
          </p:nvPr>
        </p:nvSpPr>
        <p:spPr/>
        <p:txBody>
          <a:bodyPr/>
          <a:lstStyle/>
          <a:p>
            <a:r>
              <a:rPr lang="en-US"/>
              <a:t>For questions, please use Q&amp;A box and address to “All Panelists.”</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31157178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AF054FB-173B-44CF-B45B-313AC4B3DA99}" type="datetime1">
              <a:rPr lang="en-US" smtClean="0"/>
              <a:t>12/26/2023</a:t>
            </a:fld>
            <a:endParaRPr lang="en-US"/>
          </a:p>
        </p:txBody>
      </p:sp>
      <p:sp>
        <p:nvSpPr>
          <p:cNvPr id="8" name="Footer Placeholder 7"/>
          <p:cNvSpPr>
            <a:spLocks noGrp="1"/>
          </p:cNvSpPr>
          <p:nvPr>
            <p:ph type="ftr" sz="quarter" idx="11"/>
          </p:nvPr>
        </p:nvSpPr>
        <p:spPr/>
        <p:txBody>
          <a:bodyPr/>
          <a:lstStyle/>
          <a:p>
            <a:r>
              <a:rPr lang="en-US"/>
              <a:t>For questions, please use Q&amp;A box and address to “All Panelists.”</a:t>
            </a:r>
          </a:p>
        </p:txBody>
      </p:sp>
      <p:sp>
        <p:nvSpPr>
          <p:cNvPr id="9" name="Slide Number Placeholder 8"/>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8009584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C12A6DB-150F-40C3-BA88-6A14162DF1C5}" type="datetime1">
              <a:rPr lang="en-US" smtClean="0"/>
              <a:t>12/26/2023</a:t>
            </a:fld>
            <a:endParaRPr lang="en-US"/>
          </a:p>
        </p:txBody>
      </p:sp>
      <p:sp>
        <p:nvSpPr>
          <p:cNvPr id="4" name="Footer Placeholder 3"/>
          <p:cNvSpPr>
            <a:spLocks noGrp="1"/>
          </p:cNvSpPr>
          <p:nvPr>
            <p:ph type="ftr" sz="quarter" idx="11"/>
          </p:nvPr>
        </p:nvSpPr>
        <p:spPr/>
        <p:txBody>
          <a:bodyPr/>
          <a:lstStyle/>
          <a:p>
            <a:r>
              <a:rPr lang="en-US"/>
              <a:t>For questions, please use Q&amp;A box and address to “All Panelists.”</a:t>
            </a:r>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8166572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843150-D3E5-410A-AE11-73C9BD854EAE}" type="datetime1">
              <a:rPr lang="en-US" smtClean="0"/>
              <a:t>12/26/2023</a:t>
            </a:fld>
            <a:endParaRPr lang="en-US"/>
          </a:p>
        </p:txBody>
      </p:sp>
      <p:sp>
        <p:nvSpPr>
          <p:cNvPr id="3" name="Footer Placeholder 2"/>
          <p:cNvSpPr>
            <a:spLocks noGrp="1"/>
          </p:cNvSpPr>
          <p:nvPr>
            <p:ph type="ftr" sz="quarter" idx="11"/>
          </p:nvPr>
        </p:nvSpPr>
        <p:spPr/>
        <p:txBody>
          <a:bodyPr/>
          <a:lstStyle/>
          <a:p>
            <a:r>
              <a:rPr lang="en-US"/>
              <a:t>For questions, please use Q&amp;A box and address to “All Panelists.”</a:t>
            </a:r>
          </a:p>
        </p:txBody>
      </p:sp>
      <p:sp>
        <p:nvSpPr>
          <p:cNvPr id="4" name="Slide Number Placeholder 3"/>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12407432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4AA369D-1278-4B86-A849-A442BDD3D3D3}" type="datetime1">
              <a:rPr lang="en-US" smtClean="0"/>
              <a:t>12/26/2023</a:t>
            </a:fld>
            <a:endParaRPr lang="en-US"/>
          </a:p>
        </p:txBody>
      </p:sp>
      <p:sp>
        <p:nvSpPr>
          <p:cNvPr id="6" name="Footer Placeholder 5"/>
          <p:cNvSpPr>
            <a:spLocks noGrp="1"/>
          </p:cNvSpPr>
          <p:nvPr>
            <p:ph type="ftr" sz="quarter" idx="11"/>
          </p:nvPr>
        </p:nvSpPr>
        <p:spPr/>
        <p:txBody>
          <a:bodyPr/>
          <a:lstStyle/>
          <a:p>
            <a:r>
              <a:rPr lang="en-US"/>
              <a:t>For questions, please use Q&amp;A box and address to “All Panelists.”</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36835380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C929306-7994-4B75-9406-B76AD686070C}" type="datetime1">
              <a:rPr lang="en-US" smtClean="0"/>
              <a:t>12/26/2023</a:t>
            </a:fld>
            <a:endParaRPr lang="en-US"/>
          </a:p>
        </p:txBody>
      </p:sp>
      <p:sp>
        <p:nvSpPr>
          <p:cNvPr id="5" name="Footer Placeholder 4"/>
          <p:cNvSpPr>
            <a:spLocks noGrp="1"/>
          </p:cNvSpPr>
          <p:nvPr>
            <p:ph type="ftr" sz="quarter" idx="11"/>
          </p:nvPr>
        </p:nvSpPr>
        <p:spPr/>
        <p:txBody>
          <a:bodyPr/>
          <a:lstStyle/>
          <a:p>
            <a:r>
              <a:rPr lang="en-US"/>
              <a:t>For questions, please use Q&amp;A box and address to “All Panelist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08690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A64A9E7-FB63-4C33-8819-5F50C9E60E39}" type="datetime1">
              <a:rPr lang="en-US" smtClean="0"/>
              <a:t>12/26/2023</a:t>
            </a:fld>
            <a:endParaRPr lang="en-US"/>
          </a:p>
        </p:txBody>
      </p:sp>
      <p:sp>
        <p:nvSpPr>
          <p:cNvPr id="6" name="Footer Placeholder 5"/>
          <p:cNvSpPr>
            <a:spLocks noGrp="1"/>
          </p:cNvSpPr>
          <p:nvPr>
            <p:ph type="ftr" sz="quarter" idx="11"/>
          </p:nvPr>
        </p:nvSpPr>
        <p:spPr/>
        <p:txBody>
          <a:bodyPr/>
          <a:lstStyle/>
          <a:p>
            <a:r>
              <a:rPr lang="en-US"/>
              <a:t>For questions, please use Q&amp;A box and address to “All Panelists.”</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565868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9964F80-78AF-4EDE-8FE1-E227BF8C255E}" type="datetime1">
              <a:rPr lang="en-US" smtClean="0"/>
              <a:t>12/26/2023</a:t>
            </a:fld>
            <a:endParaRPr lang="en-US"/>
          </a:p>
        </p:txBody>
      </p:sp>
      <p:sp>
        <p:nvSpPr>
          <p:cNvPr id="5" name="Footer Placeholder 4"/>
          <p:cNvSpPr>
            <a:spLocks noGrp="1"/>
          </p:cNvSpPr>
          <p:nvPr>
            <p:ph type="ftr" sz="quarter" idx="11"/>
          </p:nvPr>
        </p:nvSpPr>
        <p:spPr/>
        <p:txBody>
          <a:bodyPr/>
          <a:lstStyle/>
          <a:p>
            <a:r>
              <a:rPr lang="en-US"/>
              <a:t>For questions, please use Q&amp;A box and address to “All Panelist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36341897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7EF134-2DAC-4F80-ACCE-C042811F93EF}" type="datetime1">
              <a:rPr lang="en-US" smtClean="0"/>
              <a:t>12/26/2023</a:t>
            </a:fld>
            <a:endParaRPr lang="en-US"/>
          </a:p>
        </p:txBody>
      </p:sp>
      <p:sp>
        <p:nvSpPr>
          <p:cNvPr id="5" name="Footer Placeholder 4"/>
          <p:cNvSpPr>
            <a:spLocks noGrp="1"/>
          </p:cNvSpPr>
          <p:nvPr>
            <p:ph type="ftr" sz="quarter" idx="11"/>
          </p:nvPr>
        </p:nvSpPr>
        <p:spPr/>
        <p:txBody>
          <a:bodyPr/>
          <a:lstStyle/>
          <a:p>
            <a:r>
              <a:rPr lang="en-US"/>
              <a:t>For questions, please use Q&amp;A box and address to “All Panelist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8921420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50EE7798-284D-44E6-BD33-EC3C7F4CA87C}" type="slidenum">
              <a:rPr lang="en-US" smtClean="0"/>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644060142"/>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7503070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22852745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3766599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16741894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24199879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29549565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83A262E-687B-4511-92CD-CD3D63BAAB8F}" type="datetime1">
              <a:rPr lang="en-US" smtClean="0"/>
              <a:t>12/26/2023</a:t>
            </a:fld>
            <a:endParaRPr lang="en-US"/>
          </a:p>
        </p:txBody>
      </p:sp>
      <p:sp>
        <p:nvSpPr>
          <p:cNvPr id="6" name="Footer Placeholder 5"/>
          <p:cNvSpPr>
            <a:spLocks noGrp="1"/>
          </p:cNvSpPr>
          <p:nvPr>
            <p:ph type="ftr" sz="quarter" idx="11"/>
          </p:nvPr>
        </p:nvSpPr>
        <p:spPr/>
        <p:txBody>
          <a:bodyPr/>
          <a:lstStyle/>
          <a:p>
            <a:r>
              <a:rPr lang="en-US"/>
              <a:t>For questions, please use Q&amp;A box and address to “All Panelists.”</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9126333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19341697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17548427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21037328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AA9417C-3C88-4F55-945D-A3F0C45704AA}" type="datetime1">
              <a:rPr lang="en-US" smtClean="0"/>
              <a:t>12/26/2023</a:t>
            </a:fld>
            <a:endParaRPr lang="en-US"/>
          </a:p>
        </p:txBody>
      </p:sp>
      <p:sp>
        <p:nvSpPr>
          <p:cNvPr id="5" name="Footer Placeholder 4"/>
          <p:cNvSpPr>
            <a:spLocks noGrp="1"/>
          </p:cNvSpPr>
          <p:nvPr>
            <p:ph type="ftr" sz="quarter" idx="11"/>
          </p:nvPr>
        </p:nvSpPr>
        <p:spPr/>
        <p:txBody>
          <a:bodyPr/>
          <a:lstStyle/>
          <a:p>
            <a:r>
              <a:rPr lang="en-US"/>
              <a:t>For questions, please use Q&amp;A box and address to “All Panelists.”</a:t>
            </a:r>
          </a:p>
        </p:txBody>
      </p:sp>
      <p:sp>
        <p:nvSpPr>
          <p:cNvPr id="6" name="Slide Number Placeholder 5"/>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17029893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1"/>
            </p:custDataLst>
            <p:extLst>
              <p:ext uri="{D42A27DB-BD31-4B8C-83A1-F6EECF244321}">
                <p14:modId xmlns:p14="http://schemas.microsoft.com/office/powerpoint/2010/main" val="4269292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C7D1534-D195-4B5F-A555-6AFAC8B7EEE2}" type="datetime1">
              <a:rPr lang="en-US" smtClean="0"/>
              <a:t>12/26/2023</a:t>
            </a:fld>
            <a:endParaRPr lang="en-US"/>
          </a:p>
        </p:txBody>
      </p:sp>
      <p:sp>
        <p:nvSpPr>
          <p:cNvPr id="5" name="Footer Placeholder 4"/>
          <p:cNvSpPr>
            <a:spLocks noGrp="1"/>
          </p:cNvSpPr>
          <p:nvPr>
            <p:ph type="ftr" sz="quarter" idx="11"/>
          </p:nvPr>
        </p:nvSpPr>
        <p:spPr/>
        <p:txBody>
          <a:bodyPr/>
          <a:lstStyle/>
          <a:p>
            <a:r>
              <a:rPr lang="en-US"/>
              <a:t>For questions, please use Q&amp;A box and address to “All Panelists.”</a:t>
            </a:r>
          </a:p>
        </p:txBody>
      </p:sp>
      <p:sp>
        <p:nvSpPr>
          <p:cNvPr id="6" name="Slide Number Placeholder 5"/>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35251270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BB86EF8-5F75-426C-B0B2-931EE1BB4B5E}" type="datetime1">
              <a:rPr lang="en-US" smtClean="0"/>
              <a:t>12/26/2023</a:t>
            </a:fld>
            <a:endParaRPr lang="en-US"/>
          </a:p>
        </p:txBody>
      </p:sp>
      <p:sp>
        <p:nvSpPr>
          <p:cNvPr id="5" name="Footer Placeholder 4"/>
          <p:cNvSpPr>
            <a:spLocks noGrp="1"/>
          </p:cNvSpPr>
          <p:nvPr>
            <p:ph type="ftr" sz="quarter" idx="11"/>
          </p:nvPr>
        </p:nvSpPr>
        <p:spPr/>
        <p:txBody>
          <a:bodyPr/>
          <a:lstStyle/>
          <a:p>
            <a:r>
              <a:rPr lang="en-US"/>
              <a:t>For questions, please use Q&amp;A box and address to “All Panelists.”</a:t>
            </a:r>
          </a:p>
        </p:txBody>
      </p:sp>
      <p:sp>
        <p:nvSpPr>
          <p:cNvPr id="6" name="Slide Number Placeholder 5"/>
          <p:cNvSpPr>
            <a:spLocks noGrp="1"/>
          </p:cNvSpPr>
          <p:nvPr>
            <p:ph type="sldNum" sz="quarter" idx="12"/>
          </p:nvPr>
        </p:nvSpPr>
        <p:spPr/>
        <p:txBody>
          <a:bodyPr/>
          <a:lstStyle/>
          <a:p>
            <a:fld id="{C9BB28B2-A8F5-4EF1-827D-F00C9F5F27A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468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BA3462E-4454-492A-8005-6A645AAAD30D}" type="datetime1">
              <a:rPr lang="en-US" smtClean="0"/>
              <a:t>12/26/2023</a:t>
            </a:fld>
            <a:endParaRPr lang="en-US"/>
          </a:p>
        </p:txBody>
      </p:sp>
      <p:sp>
        <p:nvSpPr>
          <p:cNvPr id="6" name="Footer Placeholder 5"/>
          <p:cNvSpPr>
            <a:spLocks noGrp="1"/>
          </p:cNvSpPr>
          <p:nvPr>
            <p:ph type="ftr" sz="quarter" idx="11"/>
          </p:nvPr>
        </p:nvSpPr>
        <p:spPr/>
        <p:txBody>
          <a:bodyPr/>
          <a:lstStyle/>
          <a:p>
            <a:r>
              <a:rPr lang="en-US"/>
              <a:t>For questions, please use Q&amp;A box and address to “All Panelists.”</a:t>
            </a:r>
          </a:p>
        </p:txBody>
      </p:sp>
      <p:sp>
        <p:nvSpPr>
          <p:cNvPr id="7" name="Slide Number Placeholder 6"/>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18313359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49CDAD3-380D-4D89-83A8-986CA33104D9}" type="datetime1">
              <a:rPr lang="en-US" smtClean="0"/>
              <a:t>12/26/2023</a:t>
            </a:fld>
            <a:endParaRPr lang="en-US"/>
          </a:p>
        </p:txBody>
      </p:sp>
      <p:sp>
        <p:nvSpPr>
          <p:cNvPr id="8" name="Footer Placeholder 7"/>
          <p:cNvSpPr>
            <a:spLocks noGrp="1"/>
          </p:cNvSpPr>
          <p:nvPr>
            <p:ph type="ftr" sz="quarter" idx="11"/>
          </p:nvPr>
        </p:nvSpPr>
        <p:spPr/>
        <p:txBody>
          <a:bodyPr/>
          <a:lstStyle/>
          <a:p>
            <a:r>
              <a:rPr lang="en-US"/>
              <a:t>For questions, please use Q&amp;A box and address to “All Panelists.”</a:t>
            </a:r>
          </a:p>
        </p:txBody>
      </p:sp>
      <p:sp>
        <p:nvSpPr>
          <p:cNvPr id="9" name="Slide Number Placeholder 8"/>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18139418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7A2C651-254C-487A-A1A7-22ECCBF5908D}" type="datetime1">
              <a:rPr lang="en-US" smtClean="0"/>
              <a:t>12/26/2023</a:t>
            </a:fld>
            <a:endParaRPr lang="en-US"/>
          </a:p>
        </p:txBody>
      </p:sp>
      <p:sp>
        <p:nvSpPr>
          <p:cNvPr id="4" name="Footer Placeholder 3"/>
          <p:cNvSpPr>
            <a:spLocks noGrp="1"/>
          </p:cNvSpPr>
          <p:nvPr>
            <p:ph type="ftr" sz="quarter" idx="11"/>
          </p:nvPr>
        </p:nvSpPr>
        <p:spPr/>
        <p:txBody>
          <a:bodyPr/>
          <a:lstStyle/>
          <a:p>
            <a:r>
              <a:rPr lang="en-US"/>
              <a:t>For questions, please use Q&amp;A box and address to “All Panelists.”</a:t>
            </a:r>
          </a:p>
        </p:txBody>
      </p:sp>
      <p:sp>
        <p:nvSpPr>
          <p:cNvPr id="5" name="Slide Number Placeholder 4"/>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21770605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6F3CB30-DADE-4A7B-AE91-AAAB597F7A76}" type="datetime1">
              <a:rPr lang="en-US" smtClean="0"/>
              <a:t>12/26/2023</a:t>
            </a:fld>
            <a:endParaRPr lang="en-US"/>
          </a:p>
        </p:txBody>
      </p:sp>
      <p:sp>
        <p:nvSpPr>
          <p:cNvPr id="3" name="Footer Placeholder 2"/>
          <p:cNvSpPr>
            <a:spLocks noGrp="1"/>
          </p:cNvSpPr>
          <p:nvPr>
            <p:ph type="ftr" sz="quarter" idx="11"/>
          </p:nvPr>
        </p:nvSpPr>
        <p:spPr/>
        <p:txBody>
          <a:bodyPr/>
          <a:lstStyle/>
          <a:p>
            <a:r>
              <a:rPr lang="en-US"/>
              <a:t>For questions, please use Q&amp;A box and address to “All Panelists.”</a:t>
            </a:r>
          </a:p>
        </p:txBody>
      </p:sp>
      <p:sp>
        <p:nvSpPr>
          <p:cNvPr id="4" name="Slide Number Placeholder 3"/>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12571540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AF054FB-173B-44CF-B45B-313AC4B3DA99}" type="datetime1">
              <a:rPr lang="en-US" smtClean="0"/>
              <a:t>12/26/2023</a:t>
            </a:fld>
            <a:endParaRPr lang="en-US"/>
          </a:p>
        </p:txBody>
      </p:sp>
      <p:sp>
        <p:nvSpPr>
          <p:cNvPr id="8" name="Footer Placeholder 7"/>
          <p:cNvSpPr>
            <a:spLocks noGrp="1"/>
          </p:cNvSpPr>
          <p:nvPr>
            <p:ph type="ftr" sz="quarter" idx="11"/>
          </p:nvPr>
        </p:nvSpPr>
        <p:spPr/>
        <p:txBody>
          <a:bodyPr/>
          <a:lstStyle/>
          <a:p>
            <a:r>
              <a:rPr lang="en-US"/>
              <a:t>For questions, please use Q&amp;A box and address to “All Panelists.”</a:t>
            </a:r>
          </a:p>
        </p:txBody>
      </p:sp>
      <p:sp>
        <p:nvSpPr>
          <p:cNvPr id="9" name="Slide Number Placeholder 8"/>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41649228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BB6CC04-CF25-4879-9A40-A32F175997A0}" type="datetime1">
              <a:rPr lang="en-US" smtClean="0"/>
              <a:t>12/26/2023</a:t>
            </a:fld>
            <a:endParaRPr lang="en-US"/>
          </a:p>
        </p:txBody>
      </p:sp>
      <p:sp>
        <p:nvSpPr>
          <p:cNvPr id="6" name="Footer Placeholder 5"/>
          <p:cNvSpPr>
            <a:spLocks noGrp="1"/>
          </p:cNvSpPr>
          <p:nvPr>
            <p:ph type="ftr" sz="quarter" idx="11"/>
          </p:nvPr>
        </p:nvSpPr>
        <p:spPr/>
        <p:txBody>
          <a:bodyPr/>
          <a:lstStyle/>
          <a:p>
            <a:r>
              <a:rPr lang="en-US"/>
              <a:t>For questions, please use Q&amp;A box and address to “All Panelists.”</a:t>
            </a:r>
          </a:p>
        </p:txBody>
      </p:sp>
      <p:sp>
        <p:nvSpPr>
          <p:cNvPr id="7" name="Slide Number Placeholder 6"/>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22377625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01C6BAA-7D0C-4550-86EA-F83835DF1A26}" type="datetime1">
              <a:rPr lang="en-US" smtClean="0"/>
              <a:t>12/26/2023</a:t>
            </a:fld>
            <a:endParaRPr lang="en-US"/>
          </a:p>
        </p:txBody>
      </p:sp>
      <p:sp>
        <p:nvSpPr>
          <p:cNvPr id="6" name="Footer Placeholder 5"/>
          <p:cNvSpPr>
            <a:spLocks noGrp="1"/>
          </p:cNvSpPr>
          <p:nvPr>
            <p:ph type="ftr" sz="quarter" idx="11"/>
          </p:nvPr>
        </p:nvSpPr>
        <p:spPr/>
        <p:txBody>
          <a:bodyPr/>
          <a:lstStyle/>
          <a:p>
            <a:r>
              <a:rPr lang="en-US"/>
              <a:t>For questions, please use Q&amp;A box and address to “All Panelists.”</a:t>
            </a:r>
          </a:p>
        </p:txBody>
      </p:sp>
      <p:sp>
        <p:nvSpPr>
          <p:cNvPr id="7" name="Slide Number Placeholder 6"/>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249458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BB6E15-4AED-4C72-ADDF-7B339D417F6B}" type="datetime1">
              <a:rPr lang="en-US" smtClean="0"/>
              <a:t>12/26/2023</a:t>
            </a:fld>
            <a:endParaRPr lang="en-US"/>
          </a:p>
        </p:txBody>
      </p:sp>
      <p:sp>
        <p:nvSpPr>
          <p:cNvPr id="5" name="Footer Placeholder 4"/>
          <p:cNvSpPr>
            <a:spLocks noGrp="1"/>
          </p:cNvSpPr>
          <p:nvPr>
            <p:ph type="ftr" sz="quarter" idx="11"/>
          </p:nvPr>
        </p:nvSpPr>
        <p:spPr/>
        <p:txBody>
          <a:bodyPr/>
          <a:lstStyle/>
          <a:p>
            <a:r>
              <a:rPr lang="en-US"/>
              <a:t>For questions, please use Q&amp;A box and address to “All Panelists.”</a:t>
            </a:r>
          </a:p>
        </p:txBody>
      </p:sp>
      <p:sp>
        <p:nvSpPr>
          <p:cNvPr id="6" name="Slide Number Placeholder 5"/>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4121987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34F66AF-9E1E-457F-908C-9C86CBEA9B3A}" type="datetime1">
              <a:rPr lang="en-US" smtClean="0"/>
              <a:t>12/26/2023</a:t>
            </a:fld>
            <a:endParaRPr lang="en-US"/>
          </a:p>
        </p:txBody>
      </p:sp>
      <p:sp>
        <p:nvSpPr>
          <p:cNvPr id="5" name="Footer Placeholder 4"/>
          <p:cNvSpPr>
            <a:spLocks noGrp="1"/>
          </p:cNvSpPr>
          <p:nvPr>
            <p:ph type="ftr" sz="quarter" idx="11"/>
          </p:nvPr>
        </p:nvSpPr>
        <p:spPr/>
        <p:txBody>
          <a:bodyPr/>
          <a:lstStyle/>
          <a:p>
            <a:r>
              <a:rPr lang="en-US"/>
              <a:t>For questions, please use Q&amp;A box and address to “All Panelists.”</a:t>
            </a:r>
          </a:p>
        </p:txBody>
      </p:sp>
      <p:sp>
        <p:nvSpPr>
          <p:cNvPr id="6" name="Slide Number Placeholder 5"/>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8272412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C9BB28B2-A8F5-4EF1-827D-F00C9F5F27AE}" type="slidenum">
              <a:rPr lang="en-US" smtClean="0"/>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493199506"/>
      </p:ext>
    </p:extLst>
  </p:cSld>
  <p:clrMapOvr>
    <a:masterClrMapping/>
  </p:clrMapOvr>
  <p:hf sldNum="0" hdr="0" dt="0"/>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1795551389"/>
      </p:ext>
    </p:extLst>
  </p:cSld>
  <p:clrMapOvr>
    <a:masterClrMapping/>
  </p:clrMapOvr>
  <p:hf sldNum="0"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2636551588"/>
      </p:ext>
    </p:extLst>
  </p:cSld>
  <p:clrMapOvr>
    <a:masterClrMapping/>
  </p:clrMapOvr>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239914069"/>
      </p:ext>
    </p:extLst>
  </p:cSld>
  <p:clrMapOvr>
    <a:masterClrMapping/>
  </p:clrMapOvr>
  <p:hf sldNum="0" hd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2263597328"/>
      </p:ext>
    </p:extLst>
  </p:cSld>
  <p:clrMapOvr>
    <a:masterClrMapping/>
  </p:clrMapOvr>
  <p:hf sldNum="0" hd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133885064"/>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C12A6DB-150F-40C3-BA88-6A14162DF1C5}" type="datetime1">
              <a:rPr lang="en-US" smtClean="0"/>
              <a:t>12/26/2023</a:t>
            </a:fld>
            <a:endParaRPr lang="en-US"/>
          </a:p>
        </p:txBody>
      </p:sp>
      <p:sp>
        <p:nvSpPr>
          <p:cNvPr id="4" name="Footer Placeholder 3"/>
          <p:cNvSpPr>
            <a:spLocks noGrp="1"/>
          </p:cNvSpPr>
          <p:nvPr>
            <p:ph type="ftr" sz="quarter" idx="11"/>
          </p:nvPr>
        </p:nvSpPr>
        <p:spPr/>
        <p:txBody>
          <a:bodyPr/>
          <a:lstStyle/>
          <a:p>
            <a:r>
              <a:rPr lang="en-US"/>
              <a:t>For questions, please use Q&amp;A box and address to “All Panelists.”</a:t>
            </a:r>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9224977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2642880921"/>
      </p:ext>
    </p:extLst>
  </p:cSld>
  <p:clrMapOvr>
    <a:masterClrMapping/>
  </p:clrMapOvr>
  <p:hf sldNum="0" hd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2149918021"/>
      </p:ext>
    </p:extLst>
  </p:cSld>
  <p:clrMapOvr>
    <a:masterClrMapping/>
  </p:clrMapOvr>
  <p:hf sldNum="0" hd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641392274"/>
      </p:ext>
    </p:extLst>
  </p:cSld>
  <p:clrMapOvr>
    <a:masterClrMapping/>
  </p:clrMapOvr>
  <p:hf sldNum="0"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C9BB28B2-A8F5-4EF1-827D-F00C9F5F27AE}" type="slidenum">
              <a:rPr lang="en-US" smtClean="0"/>
              <a:t>‹#›</a:t>
            </a:fld>
            <a:endParaRPr lang="en-US"/>
          </a:p>
        </p:txBody>
      </p:sp>
    </p:spTree>
    <p:extLst>
      <p:ext uri="{BB962C8B-B14F-4D97-AF65-F5344CB8AC3E}">
        <p14:creationId xmlns:p14="http://schemas.microsoft.com/office/powerpoint/2010/main" val="2057932621"/>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843150-D3E5-410A-AE11-73C9BD854EAE}" type="datetime1">
              <a:rPr lang="en-US" smtClean="0"/>
              <a:t>12/26/2023</a:t>
            </a:fld>
            <a:endParaRPr lang="en-US"/>
          </a:p>
        </p:txBody>
      </p:sp>
      <p:sp>
        <p:nvSpPr>
          <p:cNvPr id="3" name="Footer Placeholder 2"/>
          <p:cNvSpPr>
            <a:spLocks noGrp="1"/>
          </p:cNvSpPr>
          <p:nvPr>
            <p:ph type="ftr" sz="quarter" idx="11"/>
          </p:nvPr>
        </p:nvSpPr>
        <p:spPr/>
        <p:txBody>
          <a:bodyPr/>
          <a:lstStyle/>
          <a:p>
            <a:r>
              <a:rPr lang="en-US"/>
              <a:t>For questions, please use Q&amp;A box and address to “All Panelists.”</a:t>
            </a:r>
          </a:p>
        </p:txBody>
      </p:sp>
      <p:sp>
        <p:nvSpPr>
          <p:cNvPr id="4" name="Slide Number Placeholder 3"/>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32749799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4AA369D-1278-4B86-A849-A442BDD3D3D3}" type="datetime1">
              <a:rPr lang="en-US" smtClean="0"/>
              <a:t>12/26/2023</a:t>
            </a:fld>
            <a:endParaRPr lang="en-US"/>
          </a:p>
        </p:txBody>
      </p:sp>
      <p:sp>
        <p:nvSpPr>
          <p:cNvPr id="6" name="Footer Placeholder 5"/>
          <p:cNvSpPr>
            <a:spLocks noGrp="1"/>
          </p:cNvSpPr>
          <p:nvPr>
            <p:ph type="ftr" sz="quarter" idx="11"/>
          </p:nvPr>
        </p:nvSpPr>
        <p:spPr/>
        <p:txBody>
          <a:bodyPr/>
          <a:lstStyle/>
          <a:p>
            <a:r>
              <a:rPr lang="en-US"/>
              <a:t>For questions, please use Q&amp;A box and address to “All Panelists.”</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3965565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A64A9E7-FB63-4C33-8819-5F50C9E60E39}" type="datetime1">
              <a:rPr lang="en-US" smtClean="0"/>
              <a:t>12/26/2023</a:t>
            </a:fld>
            <a:endParaRPr lang="en-US"/>
          </a:p>
        </p:txBody>
      </p:sp>
      <p:sp>
        <p:nvSpPr>
          <p:cNvPr id="6" name="Footer Placeholder 5"/>
          <p:cNvSpPr>
            <a:spLocks noGrp="1"/>
          </p:cNvSpPr>
          <p:nvPr>
            <p:ph type="ftr" sz="quarter" idx="11"/>
          </p:nvPr>
        </p:nvSpPr>
        <p:spPr/>
        <p:txBody>
          <a:bodyPr/>
          <a:lstStyle/>
          <a:p>
            <a:r>
              <a:rPr lang="en-US"/>
              <a:t>For questions, please use Q&amp;A box and address to “All Panelists.”</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a:p>
        </p:txBody>
      </p:sp>
    </p:spTree>
    <p:extLst>
      <p:ext uri="{BB962C8B-B14F-4D97-AF65-F5344CB8AC3E}">
        <p14:creationId xmlns:p14="http://schemas.microsoft.com/office/powerpoint/2010/main" val="9224370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28"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image" Target="../media/image1.emf"/><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oleObject" Target="../embeddings/oleObject3.bin"/><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ags" Target="../tags/tag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ags" Target="../tags/tag4.xml"/><Relationship Id="rId28" Type="http://schemas.openxmlformats.org/officeDocument/2006/relationships/image" Target="../media/image3.png"/><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heme" Target="../theme/theme2.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image" Target="../media/image1.emf"/><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oleObject" Target="../embeddings/oleObject5.bin"/><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tags" Target="../tags/tag8.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tags" Target="../tags/tag7.xml"/><Relationship Id="rId28" Type="http://schemas.openxmlformats.org/officeDocument/2006/relationships/image" Target="../media/image3.png"/><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heme" Target="../theme/theme3.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3"/>
            </p:custDataLst>
            <p:extLst>
              <p:ext uri="{D42A27DB-BD31-4B8C-83A1-F6EECF244321}">
                <p14:modId xmlns:p14="http://schemas.microsoft.com/office/powerpoint/2010/main" val="3601188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5199C7A-E107-4C58-BBDA-86733E303BDE}" type="datetime1">
              <a:rPr lang="en-US" smtClean="0"/>
              <a:t>12/26/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r questions, please use Q&amp;A box and address to “All Panelists.”</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EE7798-284D-44E6-BD33-EC3C7F4CA87C}" type="slidenum">
              <a:rPr lang="en-US" smtClean="0"/>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340002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hf sldNum="0" hd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3"/>
            </p:custDataLst>
            <p:extLst>
              <p:ext uri="{D42A27DB-BD31-4B8C-83A1-F6EECF244321}">
                <p14:modId xmlns:p14="http://schemas.microsoft.com/office/powerpoint/2010/main" val="417019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EBB9AE-9B2E-43F0-9ADE-35D5A8B3A17C}" type="datetime1">
              <a:rPr lang="en-US" smtClean="0"/>
              <a:t>12/26/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r questions, please use Q&amp;A box and address to “All Panelists.”</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BB28B2-A8F5-4EF1-827D-F00C9F5F27AE}" type="slidenum">
              <a:rPr lang="en-US" smtClean="0"/>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75175417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Lst>
  <p:hf sldNum="0" hd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3"/>
            </p:custDataLst>
            <p:extLst>
              <p:ext uri="{D42A27DB-BD31-4B8C-83A1-F6EECF244321}">
                <p14:modId xmlns:p14="http://schemas.microsoft.com/office/powerpoint/2010/main" val="417019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EBB9AE-9B2E-43F0-9ADE-35D5A8B3A17C}" type="datetime1">
              <a:rPr lang="en-US" smtClean="0"/>
              <a:t>12/26/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r questions, please use Q&amp;A box and address to “All Panelists.”</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BB28B2-A8F5-4EF1-827D-F00C9F5F27AE}" type="slidenum">
              <a:rPr lang="en-US" smtClean="0"/>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662570190"/>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Lst>
  <p:hf sldNum="0" hd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hyperlink" Target="https://gcc02.safelinks.protection.outlook.com/?url=https%3A%2F%2Fwww.appropriations.senate.gov%2Fimo%2Fmedia%2Fdoc%2FJRQ121922.PDF&amp;data=05%7C01%7C%7C7db3d1c1ae9347bc0b3b08daea7fe003%7Ce95f1b23abaf45ee821db7ab251ab3bf%7C0%7C0%7C638080132182876896%7CUnknown%7CTWFpbGZsb3d8eyJWIjoiMC4wLjAwMDAiLCJQIjoiV2luMzIiLCJBTiI6Ik1haWwiLCJXVCI6Mn0%3D%7C3000%7C%7C%7C&amp;sdata=QpTFjg7JCTSKjXCFpK7uOx2farXFP1T8i0ds320OqTs%3D&amp;reserved=0" TargetMode="External"/><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3" Type="http://schemas.openxmlformats.org/officeDocument/2006/relationships/hyperlink" Target="https://www.va.gov/vhapublications/publications.cfm?Pub=6" TargetMode="External"/><Relationship Id="rId7" Type="http://schemas.openxmlformats.org/officeDocument/2006/relationships/hyperlink" Target="https://www.research.va.gov/resources/policies/VA-PI-Pay-Matrix.pdf" TargetMode="External"/><Relationship Id="rId2" Type="http://schemas.openxmlformats.org/officeDocument/2006/relationships/hyperlink" Target="https://www.congress.gov/117/bills/hr2617/BILLS-117hr2617enr.pdf" TargetMode="External"/><Relationship Id="rId1" Type="http://schemas.openxmlformats.org/officeDocument/2006/relationships/slideLayout" Target="../slideLayouts/slideLayout23.xml"/><Relationship Id="rId6" Type="http://schemas.openxmlformats.org/officeDocument/2006/relationships/hyperlink" Target="https://www.research.va.gov/resources/policies/Delegation-of-Authority-from-Under-Secretary-to-Facility-Directors.pdf" TargetMode="External"/><Relationship Id="rId5" Type="http://schemas.openxmlformats.org/officeDocument/2006/relationships/hyperlink" Target="https://www.va.gov/vhapublications/ViewPublication.asp?pub_ID=11575" TargetMode="External"/><Relationship Id="rId4" Type="http://schemas.openxmlformats.org/officeDocument/2006/relationships/hyperlink" Target="https://www.research.va.gov/resources/policies/outside_compensation.cfm"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941DF-193A-435B-8421-CB7C40252F41}"/>
              </a:ext>
            </a:extLst>
          </p:cNvPr>
          <p:cNvSpPr>
            <a:spLocks noGrp="1"/>
          </p:cNvSpPr>
          <p:nvPr>
            <p:ph type="ctrTitle"/>
          </p:nvPr>
        </p:nvSpPr>
        <p:spPr>
          <a:xfrm>
            <a:off x="1615805" y="732367"/>
            <a:ext cx="9205320" cy="2847965"/>
          </a:xfrm>
        </p:spPr>
        <p:txBody>
          <a:bodyPr vert="horz" lIns="91440" tIns="45720" rIns="91440" bIns="45720" rtlCol="0" anchor="ctr">
            <a:normAutofit/>
          </a:bodyPr>
          <a:lstStyle/>
          <a:p>
            <a:br>
              <a:rPr lang="en-US" sz="3400" kern="1200" dirty="0">
                <a:solidFill>
                  <a:schemeClr val="tx1"/>
                </a:solidFill>
                <a:latin typeface="+mj-lt"/>
                <a:ea typeface="+mj-ea"/>
                <a:cs typeface="+mj-cs"/>
              </a:rPr>
            </a:br>
            <a:r>
              <a:rPr lang="en-US" sz="4000" dirty="0">
                <a:solidFill>
                  <a:schemeClr val="tx1"/>
                </a:solidFill>
                <a:latin typeface="+mn-lt"/>
              </a:rPr>
              <a:t>Status Brief Regarding the Impact of </a:t>
            </a:r>
            <a:br>
              <a:rPr lang="en-US" sz="4000" dirty="0">
                <a:solidFill>
                  <a:schemeClr val="tx1"/>
                </a:solidFill>
                <a:latin typeface="+mn-lt"/>
              </a:rPr>
            </a:br>
            <a:r>
              <a:rPr lang="en-US" sz="4000" b="1" kern="1200" dirty="0">
                <a:solidFill>
                  <a:schemeClr val="tx1"/>
                </a:solidFill>
                <a:latin typeface="+mn-lt"/>
                <a:ea typeface="+mj-ea"/>
                <a:cs typeface="+mj-cs"/>
              </a:rPr>
              <a:t>18 U.S.C. § 209 </a:t>
            </a:r>
            <a:br>
              <a:rPr lang="en-US" sz="4000" b="1" kern="1200" dirty="0">
                <a:solidFill>
                  <a:schemeClr val="tx1"/>
                </a:solidFill>
                <a:latin typeface="+mn-lt"/>
                <a:ea typeface="+mj-ea"/>
                <a:cs typeface="+mj-cs"/>
              </a:rPr>
            </a:br>
            <a:r>
              <a:rPr lang="en-US" sz="4000" dirty="0">
                <a:solidFill>
                  <a:schemeClr val="tx1"/>
                </a:solidFill>
                <a:latin typeface="+mn-lt"/>
              </a:rPr>
              <a:t>on VA Research Programs</a:t>
            </a:r>
            <a:endParaRPr lang="en-US" sz="4000" b="1" kern="1200" dirty="0">
              <a:solidFill>
                <a:schemeClr val="tx1"/>
              </a:solidFill>
              <a:latin typeface="+mn-lt"/>
              <a:ea typeface="+mj-ea"/>
              <a:cs typeface="+mj-cs"/>
            </a:endParaRPr>
          </a:p>
        </p:txBody>
      </p:sp>
      <p:sp>
        <p:nvSpPr>
          <p:cNvPr id="4" name="Subtitle 5">
            <a:extLst>
              <a:ext uri="{FF2B5EF4-FFF2-40B4-BE49-F238E27FC236}">
                <a16:creationId xmlns:a16="http://schemas.microsoft.com/office/drawing/2014/main" id="{925B5FBC-47C1-48E9-8F6F-B1A01A48A8AA}"/>
              </a:ext>
            </a:extLst>
          </p:cNvPr>
          <p:cNvSpPr txBox="1">
            <a:spLocks/>
          </p:cNvSpPr>
          <p:nvPr/>
        </p:nvSpPr>
        <p:spPr>
          <a:xfrm>
            <a:off x="1614936" y="3770832"/>
            <a:ext cx="8965870" cy="2267287"/>
          </a:xfrm>
          <a:prstGeom prst="rect">
            <a:avLst/>
          </a:prstGeom>
        </p:spPr>
        <p:txBody>
          <a:bodyPr vert="horz" wrap="square" lIns="91440" tIns="45720" rIns="91440" bIns="45720" rtlCol="0">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Presented By: </a:t>
            </a:r>
          </a:p>
          <a:p>
            <a:r>
              <a:rPr lang="en-US"/>
              <a:t>C. Karen Jeans, PhD, CCRN, CIP – Director of Regulatory Affairs</a:t>
            </a:r>
          </a:p>
          <a:p>
            <a:r>
              <a:rPr lang="en-US"/>
              <a:t>Antonio Laracuente, MBA – Director Field Operations</a:t>
            </a:r>
          </a:p>
          <a:p>
            <a:r>
              <a:rPr lang="en-US"/>
              <a:t> VHA Office of Research and Development (ORD/14RD) </a:t>
            </a:r>
          </a:p>
          <a:p>
            <a:r>
              <a:rPr lang="en-US"/>
              <a:t>Briefing Date: December 19, 2023</a:t>
            </a:r>
          </a:p>
        </p:txBody>
      </p:sp>
    </p:spTree>
    <p:extLst>
      <p:ext uri="{BB962C8B-B14F-4D97-AF65-F5344CB8AC3E}">
        <p14:creationId xmlns:p14="http://schemas.microsoft.com/office/powerpoint/2010/main" val="753555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72D4D-C278-4C39-B34E-89E38998B2A8}"/>
              </a:ext>
            </a:extLst>
          </p:cNvPr>
          <p:cNvSpPr>
            <a:spLocks noGrp="1"/>
          </p:cNvSpPr>
          <p:nvPr>
            <p:ph type="title"/>
          </p:nvPr>
        </p:nvSpPr>
        <p:spPr>
          <a:xfrm>
            <a:off x="297295" y="329550"/>
            <a:ext cx="10515600" cy="618385"/>
          </a:xfrm>
        </p:spPr>
        <p:txBody>
          <a:bodyPr/>
          <a:lstStyle/>
          <a:p>
            <a:r>
              <a:rPr lang="en-US"/>
              <a:t>Actions to Be Taken Now for Existing Projects: Step 2</a:t>
            </a:r>
          </a:p>
          <a:p>
            <a:endParaRPr lang="en-US">
              <a:cs typeface="Calibri Light"/>
            </a:endParaRPr>
          </a:p>
        </p:txBody>
      </p:sp>
      <p:sp>
        <p:nvSpPr>
          <p:cNvPr id="3" name="Content Placeholder 2">
            <a:extLst>
              <a:ext uri="{FF2B5EF4-FFF2-40B4-BE49-F238E27FC236}">
                <a16:creationId xmlns:a16="http://schemas.microsoft.com/office/drawing/2014/main" id="{DAD15276-0DA4-471D-82CF-035C64D0CED9}"/>
              </a:ext>
            </a:extLst>
          </p:cNvPr>
          <p:cNvSpPr>
            <a:spLocks noGrp="1"/>
          </p:cNvSpPr>
          <p:nvPr>
            <p:ph idx="1"/>
          </p:nvPr>
        </p:nvSpPr>
        <p:spPr>
          <a:xfrm>
            <a:off x="371475" y="1361621"/>
            <a:ext cx="11699421" cy="4351338"/>
          </a:xfrm>
        </p:spPr>
        <p:txBody>
          <a:bodyPr vert="horz" lIns="91440" tIns="45720" rIns="91440" bIns="45720" rtlCol="0" anchor="t">
            <a:noAutofit/>
          </a:bodyPr>
          <a:lstStyle/>
          <a:p>
            <a:pPr marL="514350" indent="-514350">
              <a:buAutoNum type="alphaUcPeriod"/>
            </a:pPr>
            <a:r>
              <a:rPr lang="en-US" sz="3000"/>
              <a:t>Complete the Memorandum: Request for Outside Compensation from the Affiliate of VA NPC</a:t>
            </a:r>
            <a:endParaRPr lang="en-US" sz="3000">
              <a:cs typeface="Calibri"/>
            </a:endParaRPr>
          </a:p>
          <a:p>
            <a:pPr marL="914400" lvl="1" indent="-457200">
              <a:buAutoNum type="romanLcPeriod"/>
            </a:pPr>
            <a:r>
              <a:rPr lang="en-US" sz="3000"/>
              <a:t>Delineate the project, effort, and proposed amount of outside compensation;</a:t>
            </a:r>
            <a:endParaRPr lang="en-US" sz="3000">
              <a:cs typeface="Calibri" panose="020F0502020204030204"/>
            </a:endParaRPr>
          </a:p>
          <a:p>
            <a:pPr marL="514350" indent="-514350">
              <a:buAutoNum type="alphaUcPeriod"/>
            </a:pPr>
            <a:r>
              <a:rPr lang="en-US" sz="3000"/>
              <a:t>Have the ACOS Review and forward to the Approving Official (MCD or COS); and</a:t>
            </a:r>
            <a:endParaRPr lang="en-US" sz="3000">
              <a:cs typeface="Calibri" panose="020F0502020204030204"/>
            </a:endParaRPr>
          </a:p>
          <a:p>
            <a:pPr marL="514350" indent="-514350">
              <a:buAutoNum type="alphaUcPeriod"/>
            </a:pPr>
            <a:r>
              <a:rPr lang="en-US" sz="3000"/>
              <a:t>If the Approving Official approves, the memorandum is filed in VAIRRS with a copy provided to the Affiliate or NPC.</a:t>
            </a:r>
            <a:endParaRPr lang="en-US" sz="3000">
              <a:cs typeface="Calibri" panose="020F0502020204030204"/>
            </a:endParaRPr>
          </a:p>
          <a:p>
            <a:pPr marL="514350" indent="-514350">
              <a:buAutoNum type="alphaUcPeriod"/>
            </a:pPr>
            <a:endParaRPr lang="en-US" sz="3000">
              <a:cs typeface="Calibri" panose="020F0502020204030204"/>
            </a:endParaRPr>
          </a:p>
        </p:txBody>
      </p:sp>
      <p:sp>
        <p:nvSpPr>
          <p:cNvPr id="4" name="Footer Placeholder 3">
            <a:extLst>
              <a:ext uri="{FF2B5EF4-FFF2-40B4-BE49-F238E27FC236}">
                <a16:creationId xmlns:a16="http://schemas.microsoft.com/office/drawing/2014/main" id="{0E434C0B-F0A8-8E4A-57A3-688B55D86A64}"/>
              </a:ext>
            </a:extLst>
          </p:cNvPr>
          <p:cNvSpPr>
            <a:spLocks noGrp="1"/>
          </p:cNvSpPr>
          <p:nvPr>
            <p:ph type="ftr" sz="quarter" idx="11"/>
          </p:nvPr>
        </p:nvSpPr>
        <p:spPr/>
        <p:txBody>
          <a:bodyPr/>
          <a:lstStyle/>
          <a:p>
            <a:r>
              <a:rPr lang="en-US"/>
              <a:t>For questions, please use Q&amp;A box and address to “All Panelists.”</a:t>
            </a:r>
          </a:p>
        </p:txBody>
      </p:sp>
    </p:spTree>
    <p:extLst>
      <p:ext uri="{BB962C8B-B14F-4D97-AF65-F5344CB8AC3E}">
        <p14:creationId xmlns:p14="http://schemas.microsoft.com/office/powerpoint/2010/main" val="30408548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B9C98-156D-8FCD-FB66-63B0B7BF0A1A}"/>
              </a:ext>
            </a:extLst>
          </p:cNvPr>
          <p:cNvSpPr>
            <a:spLocks noGrp="1"/>
          </p:cNvSpPr>
          <p:nvPr>
            <p:ph type="title"/>
          </p:nvPr>
        </p:nvSpPr>
        <p:spPr/>
        <p:txBody>
          <a:bodyPr/>
          <a:lstStyle/>
          <a:p>
            <a:r>
              <a:rPr lang="en-US"/>
              <a:t>Sample Memo</a:t>
            </a:r>
          </a:p>
        </p:txBody>
      </p:sp>
      <p:pic>
        <p:nvPicPr>
          <p:cNvPr id="6" name="Content Placeholder 5">
            <a:extLst>
              <a:ext uri="{FF2B5EF4-FFF2-40B4-BE49-F238E27FC236}">
                <a16:creationId xmlns:a16="http://schemas.microsoft.com/office/drawing/2014/main" id="{6B08225A-DFE8-10FD-7E29-D3576D238E25}"/>
              </a:ext>
            </a:extLst>
          </p:cNvPr>
          <p:cNvPicPr>
            <a:picLocks noGrp="1" noChangeAspect="1"/>
          </p:cNvPicPr>
          <p:nvPr>
            <p:ph idx="1"/>
          </p:nvPr>
        </p:nvPicPr>
        <p:blipFill>
          <a:blip r:embed="rId2"/>
          <a:stretch>
            <a:fillRect/>
          </a:stretch>
        </p:blipFill>
        <p:spPr>
          <a:xfrm>
            <a:off x="2524125" y="1047750"/>
            <a:ext cx="6271070" cy="4932192"/>
          </a:xfrm>
        </p:spPr>
      </p:pic>
      <p:sp>
        <p:nvSpPr>
          <p:cNvPr id="4" name="Footer Placeholder 3">
            <a:extLst>
              <a:ext uri="{FF2B5EF4-FFF2-40B4-BE49-F238E27FC236}">
                <a16:creationId xmlns:a16="http://schemas.microsoft.com/office/drawing/2014/main" id="{60F8A979-25ED-9C45-CBC3-1B9B0AE6FF5D}"/>
              </a:ext>
            </a:extLst>
          </p:cNvPr>
          <p:cNvSpPr>
            <a:spLocks noGrp="1"/>
          </p:cNvSpPr>
          <p:nvPr>
            <p:ph type="ftr" sz="quarter" idx="11"/>
          </p:nvPr>
        </p:nvSpPr>
        <p:spPr/>
        <p:txBody>
          <a:bodyPr/>
          <a:lstStyle/>
          <a:p>
            <a:r>
              <a:rPr lang="en-US"/>
              <a:t>For questions, please use Q&amp;A box and address to “All Panelists.”</a:t>
            </a:r>
          </a:p>
        </p:txBody>
      </p:sp>
    </p:spTree>
    <p:extLst>
      <p:ext uri="{BB962C8B-B14F-4D97-AF65-F5344CB8AC3E}">
        <p14:creationId xmlns:p14="http://schemas.microsoft.com/office/powerpoint/2010/main" val="1142644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C85E1-E41F-7AA5-9A63-4D4740DDF3EE}"/>
              </a:ext>
            </a:extLst>
          </p:cNvPr>
          <p:cNvSpPr>
            <a:spLocks noGrp="1"/>
          </p:cNvSpPr>
          <p:nvPr>
            <p:ph type="title"/>
          </p:nvPr>
        </p:nvSpPr>
        <p:spPr>
          <a:xfrm>
            <a:off x="297295" y="166264"/>
            <a:ext cx="10515600" cy="618385"/>
          </a:xfrm>
        </p:spPr>
        <p:txBody>
          <a:bodyPr/>
          <a:lstStyle/>
          <a:p>
            <a:r>
              <a:rPr lang="en-US" b="1" baseline="0">
                <a:solidFill>
                  <a:srgbClr val="FFFFFF"/>
                </a:solidFill>
                <a:latin typeface="Calibri Light"/>
              </a:rPr>
              <a:t>Actions to Be Taken Now for Existing Projects: Step 3</a:t>
            </a:r>
            <a:r>
              <a:rPr lang="en-US">
                <a:solidFill>
                  <a:srgbClr val="FFFFFF"/>
                </a:solidFill>
                <a:latin typeface="Calibri Light"/>
                <a:ea typeface="Calibri Light"/>
                <a:cs typeface="Calibri Light"/>
              </a:rPr>
              <a:t>​</a:t>
            </a:r>
            <a:endParaRPr lang="en-US"/>
          </a:p>
        </p:txBody>
      </p:sp>
      <p:sp>
        <p:nvSpPr>
          <p:cNvPr id="3" name="Content Placeholder 2">
            <a:extLst>
              <a:ext uri="{FF2B5EF4-FFF2-40B4-BE49-F238E27FC236}">
                <a16:creationId xmlns:a16="http://schemas.microsoft.com/office/drawing/2014/main" id="{C2AAA1AB-4C5B-8EC2-3DEC-63170C74D05D}"/>
              </a:ext>
            </a:extLst>
          </p:cNvPr>
          <p:cNvSpPr>
            <a:spLocks noGrp="1"/>
          </p:cNvSpPr>
          <p:nvPr>
            <p:ph idx="1"/>
          </p:nvPr>
        </p:nvSpPr>
        <p:spPr>
          <a:xfrm>
            <a:off x="208190" y="1062264"/>
            <a:ext cx="11767456" cy="4351338"/>
          </a:xfrm>
        </p:spPr>
        <p:txBody>
          <a:bodyPr vert="horz" lIns="91440" tIns="45720" rIns="91440" bIns="45720" rtlCol="0" anchor="t">
            <a:noAutofit/>
          </a:bodyPr>
          <a:lstStyle/>
          <a:p>
            <a:r>
              <a:rPr lang="en-US" sz="2600">
                <a:cs typeface="Calibri"/>
              </a:rPr>
              <a:t> If the approving official disapproves, one the following must occur:</a:t>
            </a:r>
          </a:p>
          <a:p>
            <a:pPr marL="800100" lvl="1" indent="-342900">
              <a:buFont typeface="Arial"/>
              <a:buChar char="•"/>
            </a:pPr>
            <a:r>
              <a:rPr lang="en-US" sz="2600">
                <a:cs typeface="Calibri"/>
              </a:rPr>
              <a:t>The VA employee, such as the VA investigator or VA research staff employee, must decline the additional salary support and restructure the budget. </a:t>
            </a:r>
          </a:p>
          <a:p>
            <a:pPr marL="800100" lvl="1" indent="-342900">
              <a:buFont typeface="Arial"/>
              <a:buChar char="•"/>
            </a:pPr>
            <a:r>
              <a:rPr lang="en-US" sz="2600">
                <a:cs typeface="Calibri"/>
              </a:rPr>
              <a:t>The VA NPC or Affiliate must develop a Memorandum of Understanding (MOU) to reimburse VA for the investigator and staff effort. </a:t>
            </a:r>
          </a:p>
          <a:p>
            <a:pPr marL="800100" lvl="1" indent="-342900">
              <a:buFont typeface="Arial"/>
              <a:buChar char="•"/>
            </a:pPr>
            <a:r>
              <a:rPr lang="en-US" sz="2600">
                <a:cs typeface="Calibri"/>
              </a:rPr>
              <a:t>The award must be assigned to another VA investigator without a financial conflict of interest to serve as the VA investigator. The primary investigator can no longer act as a VA investigator on the VHA portion of the study. </a:t>
            </a:r>
          </a:p>
          <a:p>
            <a:pPr marL="800100" lvl="1" indent="-342900">
              <a:buFont typeface="Arial"/>
              <a:buChar char="•"/>
            </a:pPr>
            <a:r>
              <a:rPr lang="en-US" sz="2600">
                <a:cs typeface="Calibri"/>
              </a:rPr>
              <a:t>The award must be closed at VA and fully moved to the Affiliate. If this is the option pursued, consideration must be given to all administrative, regulatory and data management issues associated with the proper conduct of the study. </a:t>
            </a:r>
            <a:endParaRPr lang="en-US" sz="2600"/>
          </a:p>
        </p:txBody>
      </p:sp>
      <p:sp>
        <p:nvSpPr>
          <p:cNvPr id="4" name="Footer Placeholder 3">
            <a:extLst>
              <a:ext uri="{FF2B5EF4-FFF2-40B4-BE49-F238E27FC236}">
                <a16:creationId xmlns:a16="http://schemas.microsoft.com/office/drawing/2014/main" id="{525E9758-EF05-6665-FBD1-674035658DC1}"/>
              </a:ext>
            </a:extLst>
          </p:cNvPr>
          <p:cNvSpPr>
            <a:spLocks noGrp="1"/>
          </p:cNvSpPr>
          <p:nvPr>
            <p:ph type="ftr" sz="quarter" idx="11"/>
          </p:nvPr>
        </p:nvSpPr>
        <p:spPr/>
        <p:txBody>
          <a:bodyPr/>
          <a:lstStyle/>
          <a:p>
            <a:r>
              <a:rPr lang="en-US"/>
              <a:t>For questions, please use Q&amp;A box and address to “All Panelists.”</a:t>
            </a:r>
          </a:p>
        </p:txBody>
      </p:sp>
    </p:spTree>
    <p:extLst>
      <p:ext uri="{BB962C8B-B14F-4D97-AF65-F5344CB8AC3E}">
        <p14:creationId xmlns:p14="http://schemas.microsoft.com/office/powerpoint/2010/main" val="39854652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8C9EE-B9B3-23C4-2185-980BC530B23F}"/>
              </a:ext>
            </a:extLst>
          </p:cNvPr>
          <p:cNvSpPr>
            <a:spLocks noGrp="1"/>
          </p:cNvSpPr>
          <p:nvPr>
            <p:ph type="title"/>
          </p:nvPr>
        </p:nvSpPr>
        <p:spPr/>
        <p:txBody>
          <a:bodyPr/>
          <a:lstStyle/>
          <a:p>
            <a:r>
              <a:rPr lang="en-US"/>
              <a:t>Actions to Be Taken for New Projects</a:t>
            </a:r>
          </a:p>
        </p:txBody>
      </p:sp>
      <p:sp>
        <p:nvSpPr>
          <p:cNvPr id="3" name="Content Placeholder 2">
            <a:extLst>
              <a:ext uri="{FF2B5EF4-FFF2-40B4-BE49-F238E27FC236}">
                <a16:creationId xmlns:a16="http://schemas.microsoft.com/office/drawing/2014/main" id="{D0E65D06-74D9-F3D5-861B-631ABDF8B934}"/>
              </a:ext>
            </a:extLst>
          </p:cNvPr>
          <p:cNvSpPr>
            <a:spLocks noGrp="1"/>
          </p:cNvSpPr>
          <p:nvPr>
            <p:ph idx="1"/>
          </p:nvPr>
        </p:nvSpPr>
        <p:spPr>
          <a:xfrm>
            <a:off x="493938" y="1130299"/>
            <a:ext cx="11195957" cy="4351338"/>
          </a:xfrm>
        </p:spPr>
        <p:txBody>
          <a:bodyPr vert="horz" lIns="91440" tIns="45720" rIns="91440" bIns="45720" rtlCol="0" anchor="t">
            <a:noAutofit/>
          </a:bodyPr>
          <a:lstStyle/>
          <a:p>
            <a:r>
              <a:rPr lang="en-US" sz="2700"/>
              <a:t>The only difference with New Projects is that the required review must be done and the outside compensation approved </a:t>
            </a:r>
            <a:r>
              <a:rPr lang="en-US" sz="2700" b="1" u="sng"/>
              <a:t>prior to the project initiating</a:t>
            </a:r>
            <a:r>
              <a:rPr lang="en-US" sz="2700"/>
              <a:t>.  </a:t>
            </a:r>
            <a:r>
              <a:rPr lang="en-US" sz="2700" b="1" i="1"/>
              <a:t>This action applies to all projects regardless of the State Treasury Exception.</a:t>
            </a:r>
            <a:endParaRPr lang="en-US" sz="2700" b="1" i="1">
              <a:cs typeface="Calibri"/>
            </a:endParaRPr>
          </a:p>
          <a:p>
            <a:r>
              <a:rPr lang="en-US" sz="2700"/>
              <a:t>The Chair of the R&amp;D Committee must ensure</a:t>
            </a:r>
            <a:r>
              <a:rPr lang="en-US" sz="2700" b="0" i="0" u="none" strike="noStrike" baseline="0">
                <a:solidFill>
                  <a:srgbClr val="000000"/>
                </a:solidFill>
                <a:latin typeface="Calibri"/>
                <a:cs typeface="Calibri"/>
              </a:rPr>
              <a:t> that each review assesses the request with regard to:</a:t>
            </a:r>
            <a:endParaRPr lang="en-US" sz="2700">
              <a:solidFill>
                <a:srgbClr val="000000"/>
              </a:solidFill>
              <a:latin typeface="Calibri"/>
              <a:cs typeface="Calibri"/>
            </a:endParaRPr>
          </a:p>
          <a:p>
            <a:pPr lvl="1"/>
            <a:r>
              <a:rPr lang="en-US" sz="2700">
                <a:cs typeface="Calibri"/>
              </a:rPr>
              <a:t>project budget appropriateness, </a:t>
            </a:r>
          </a:p>
          <a:p>
            <a:pPr lvl="1"/>
            <a:r>
              <a:rPr lang="en-US" sz="2700">
                <a:cs typeface="Calibri"/>
              </a:rPr>
              <a:t>the effort required to conduct the project, and </a:t>
            </a:r>
          </a:p>
          <a:p>
            <a:pPr lvl="1"/>
            <a:r>
              <a:rPr lang="en-US" sz="2700">
                <a:cs typeface="Calibri"/>
              </a:rPr>
              <a:t>the rationale for outside compensation (i.e., why the work cannot be completed during the employee’s VA tour of duty). </a:t>
            </a:r>
          </a:p>
          <a:p>
            <a:r>
              <a:rPr lang="en-US" sz="2700">
                <a:cs typeface="Calibri"/>
              </a:rPr>
              <a:t>The Chair of the R&amp;D Committee must review the memorandum submitted by the ACOS/R&amp;D if the ACOS/R&amp;D is the employee conducting the research. </a:t>
            </a:r>
          </a:p>
          <a:p>
            <a:endParaRPr lang="en-US" sz="2800">
              <a:cs typeface="Calibri"/>
            </a:endParaRPr>
          </a:p>
        </p:txBody>
      </p:sp>
      <p:sp>
        <p:nvSpPr>
          <p:cNvPr id="4" name="Footer Placeholder 3">
            <a:extLst>
              <a:ext uri="{FF2B5EF4-FFF2-40B4-BE49-F238E27FC236}">
                <a16:creationId xmlns:a16="http://schemas.microsoft.com/office/drawing/2014/main" id="{DD1B454B-2D23-6718-83D3-25D82869E03E}"/>
              </a:ext>
            </a:extLst>
          </p:cNvPr>
          <p:cNvSpPr>
            <a:spLocks noGrp="1"/>
          </p:cNvSpPr>
          <p:nvPr>
            <p:ph type="ftr" sz="quarter" idx="11"/>
          </p:nvPr>
        </p:nvSpPr>
        <p:spPr/>
        <p:txBody>
          <a:bodyPr/>
          <a:lstStyle/>
          <a:p>
            <a:r>
              <a:rPr lang="en-US"/>
              <a:t>For questions, please use Q&amp;A box and address to “All Panelists.”</a:t>
            </a:r>
          </a:p>
        </p:txBody>
      </p:sp>
    </p:spTree>
    <p:extLst>
      <p:ext uri="{BB962C8B-B14F-4D97-AF65-F5344CB8AC3E}">
        <p14:creationId xmlns:p14="http://schemas.microsoft.com/office/powerpoint/2010/main" val="11253786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8C9EE-B9B3-23C4-2185-980BC530B23F}"/>
              </a:ext>
            </a:extLst>
          </p:cNvPr>
          <p:cNvSpPr>
            <a:spLocks noGrp="1"/>
          </p:cNvSpPr>
          <p:nvPr>
            <p:ph type="title"/>
          </p:nvPr>
        </p:nvSpPr>
        <p:spPr/>
        <p:txBody>
          <a:bodyPr/>
          <a:lstStyle/>
          <a:p>
            <a:r>
              <a:rPr lang="en-US"/>
              <a:t>Demonstration</a:t>
            </a:r>
          </a:p>
        </p:txBody>
      </p:sp>
      <p:sp>
        <p:nvSpPr>
          <p:cNvPr id="3" name="Content Placeholder 2">
            <a:extLst>
              <a:ext uri="{FF2B5EF4-FFF2-40B4-BE49-F238E27FC236}">
                <a16:creationId xmlns:a16="http://schemas.microsoft.com/office/drawing/2014/main" id="{D0E65D06-74D9-F3D5-861B-631ABDF8B934}"/>
              </a:ext>
            </a:extLst>
          </p:cNvPr>
          <p:cNvSpPr>
            <a:spLocks noGrp="1"/>
          </p:cNvSpPr>
          <p:nvPr>
            <p:ph idx="1"/>
          </p:nvPr>
        </p:nvSpPr>
        <p:spPr>
          <a:xfrm>
            <a:off x="493938" y="1130299"/>
            <a:ext cx="11195957" cy="4351338"/>
          </a:xfrm>
        </p:spPr>
        <p:txBody>
          <a:bodyPr vert="horz" lIns="91440" tIns="45720" rIns="91440" bIns="45720" rtlCol="0" anchor="t">
            <a:noAutofit/>
          </a:bodyPr>
          <a:lstStyle/>
          <a:p>
            <a:pPr marL="0" indent="0">
              <a:buNone/>
            </a:pPr>
            <a:r>
              <a:rPr lang="en-US" sz="2700">
                <a:cs typeface="Calibri"/>
              </a:rPr>
              <a:t>  </a:t>
            </a:r>
          </a:p>
        </p:txBody>
      </p:sp>
      <p:sp>
        <p:nvSpPr>
          <p:cNvPr id="4" name="Footer Placeholder 3">
            <a:extLst>
              <a:ext uri="{FF2B5EF4-FFF2-40B4-BE49-F238E27FC236}">
                <a16:creationId xmlns:a16="http://schemas.microsoft.com/office/drawing/2014/main" id="{DD1B454B-2D23-6718-83D3-25D82869E03E}"/>
              </a:ext>
            </a:extLst>
          </p:cNvPr>
          <p:cNvSpPr>
            <a:spLocks noGrp="1"/>
          </p:cNvSpPr>
          <p:nvPr>
            <p:ph type="ftr" sz="quarter" idx="11"/>
          </p:nvPr>
        </p:nvSpPr>
        <p:spPr/>
        <p:txBody>
          <a:bodyPr/>
          <a:lstStyle/>
          <a:p>
            <a:r>
              <a:rPr lang="en-US"/>
              <a:t>For questions, please use Q&amp;A box and address to “All Panelists.”</a:t>
            </a:r>
          </a:p>
        </p:txBody>
      </p:sp>
      <p:pic>
        <p:nvPicPr>
          <p:cNvPr id="7" name="Picture 6">
            <a:extLst>
              <a:ext uri="{FF2B5EF4-FFF2-40B4-BE49-F238E27FC236}">
                <a16:creationId xmlns:a16="http://schemas.microsoft.com/office/drawing/2014/main" id="{7245A246-6A0E-2A6A-49FC-52CC66777B5F}"/>
              </a:ext>
            </a:extLst>
          </p:cNvPr>
          <p:cNvPicPr>
            <a:picLocks noChangeAspect="1"/>
          </p:cNvPicPr>
          <p:nvPr/>
        </p:nvPicPr>
        <p:blipFill>
          <a:blip r:embed="rId2"/>
          <a:stretch>
            <a:fillRect/>
          </a:stretch>
        </p:blipFill>
        <p:spPr>
          <a:xfrm>
            <a:off x="2452778" y="1124687"/>
            <a:ext cx="7372708" cy="4910548"/>
          </a:xfrm>
          <a:prstGeom prst="rect">
            <a:avLst/>
          </a:prstGeom>
        </p:spPr>
      </p:pic>
    </p:spTree>
    <p:extLst>
      <p:ext uri="{BB962C8B-B14F-4D97-AF65-F5344CB8AC3E}">
        <p14:creationId xmlns:p14="http://schemas.microsoft.com/office/powerpoint/2010/main" val="39413325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BDF559-C701-BF2B-ACC1-C2EA630B7B90}"/>
              </a:ext>
            </a:extLst>
          </p:cNvPr>
          <p:cNvSpPr>
            <a:spLocks noGrp="1"/>
          </p:cNvSpPr>
          <p:nvPr>
            <p:ph type="title"/>
          </p:nvPr>
        </p:nvSpPr>
        <p:spPr/>
        <p:txBody>
          <a:bodyPr/>
          <a:lstStyle/>
          <a:p>
            <a:r>
              <a:rPr lang="en-US">
                <a:cs typeface="Calibri Light"/>
              </a:rPr>
              <a:t>Demonstration – Step 1</a:t>
            </a:r>
            <a:endParaRPr lang="en-US"/>
          </a:p>
        </p:txBody>
      </p:sp>
      <p:pic>
        <p:nvPicPr>
          <p:cNvPr id="5" name="Content Placeholder 4">
            <a:extLst>
              <a:ext uri="{FF2B5EF4-FFF2-40B4-BE49-F238E27FC236}">
                <a16:creationId xmlns:a16="http://schemas.microsoft.com/office/drawing/2014/main" id="{FE1240CD-61F3-62FD-E5FE-D91E852FBDB1}"/>
              </a:ext>
            </a:extLst>
          </p:cNvPr>
          <p:cNvPicPr>
            <a:picLocks noGrp="1" noChangeAspect="1"/>
          </p:cNvPicPr>
          <p:nvPr>
            <p:ph idx="1"/>
          </p:nvPr>
        </p:nvPicPr>
        <p:blipFill>
          <a:blip r:embed="rId2"/>
          <a:stretch>
            <a:fillRect/>
          </a:stretch>
        </p:blipFill>
        <p:spPr>
          <a:xfrm>
            <a:off x="601513" y="1105012"/>
            <a:ext cx="11105071" cy="4505122"/>
          </a:xfrm>
        </p:spPr>
      </p:pic>
      <p:sp>
        <p:nvSpPr>
          <p:cNvPr id="4" name="Footer Placeholder 3">
            <a:extLst>
              <a:ext uri="{FF2B5EF4-FFF2-40B4-BE49-F238E27FC236}">
                <a16:creationId xmlns:a16="http://schemas.microsoft.com/office/drawing/2014/main" id="{D4F6D524-92B0-EC68-4AD2-5CAA96332696}"/>
              </a:ext>
            </a:extLst>
          </p:cNvPr>
          <p:cNvSpPr>
            <a:spLocks noGrp="1"/>
          </p:cNvSpPr>
          <p:nvPr>
            <p:ph type="ftr" sz="quarter" idx="11"/>
          </p:nvPr>
        </p:nvSpPr>
        <p:spPr/>
        <p:txBody>
          <a:bodyPr/>
          <a:lstStyle/>
          <a:p>
            <a:r>
              <a:rPr lang="en-US"/>
              <a:t>For questions, please use Q&amp;A box and address to “All Panelists.”</a:t>
            </a:r>
          </a:p>
        </p:txBody>
      </p:sp>
      <p:sp>
        <p:nvSpPr>
          <p:cNvPr id="6" name="Rectangle 5">
            <a:extLst>
              <a:ext uri="{FF2B5EF4-FFF2-40B4-BE49-F238E27FC236}">
                <a16:creationId xmlns:a16="http://schemas.microsoft.com/office/drawing/2014/main" id="{B617C4A0-001E-DB0E-6064-8A27828A7419}"/>
              </a:ext>
            </a:extLst>
          </p:cNvPr>
          <p:cNvSpPr/>
          <p:nvPr/>
        </p:nvSpPr>
        <p:spPr>
          <a:xfrm>
            <a:off x="507999" y="1746250"/>
            <a:ext cx="1538377" cy="402566"/>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BF21E3D-BB0F-185F-9AF5-DE8D888B434A}"/>
              </a:ext>
            </a:extLst>
          </p:cNvPr>
          <p:cNvSpPr/>
          <p:nvPr/>
        </p:nvSpPr>
        <p:spPr>
          <a:xfrm>
            <a:off x="507998" y="2623268"/>
            <a:ext cx="1538377" cy="402566"/>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40C597A-B95A-DE31-E582-367B38536F22}"/>
              </a:ext>
            </a:extLst>
          </p:cNvPr>
          <p:cNvSpPr/>
          <p:nvPr/>
        </p:nvSpPr>
        <p:spPr>
          <a:xfrm>
            <a:off x="507999" y="4995533"/>
            <a:ext cx="1538377" cy="402566"/>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9206CA14-5BE3-33F5-6B63-6164C9811A07}"/>
              </a:ext>
            </a:extLst>
          </p:cNvPr>
          <p:cNvSpPr txBox="1"/>
          <p:nvPr/>
        </p:nvSpPr>
        <p:spPr>
          <a:xfrm>
            <a:off x="3979334" y="5733142"/>
            <a:ext cx="6410476"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ea typeface="+mn-lt"/>
                <a:cs typeface="+mn-lt"/>
              </a:rPr>
              <a:t>https://dvagov.sharepoint.com/sites/VHAORPPE/VAIRRS/SitePages/Dashboards.aspx</a:t>
            </a:r>
            <a:endParaRPr lang="en-US" sz="1400" dirty="0"/>
          </a:p>
        </p:txBody>
      </p:sp>
    </p:spTree>
    <p:extLst>
      <p:ext uri="{BB962C8B-B14F-4D97-AF65-F5344CB8AC3E}">
        <p14:creationId xmlns:p14="http://schemas.microsoft.com/office/powerpoint/2010/main" val="24580023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F75A20B-1FDD-1017-3214-791E94C75DB9}"/>
              </a:ext>
            </a:extLst>
          </p:cNvPr>
          <p:cNvPicPr>
            <a:picLocks noChangeAspect="1"/>
          </p:cNvPicPr>
          <p:nvPr/>
        </p:nvPicPr>
        <p:blipFill>
          <a:blip r:embed="rId2"/>
          <a:stretch>
            <a:fillRect/>
          </a:stretch>
        </p:blipFill>
        <p:spPr>
          <a:xfrm>
            <a:off x="5395743" y="2432049"/>
            <a:ext cx="6037849" cy="1593633"/>
          </a:xfrm>
          <a:prstGeom prst="rect">
            <a:avLst/>
          </a:prstGeom>
        </p:spPr>
      </p:pic>
      <p:sp>
        <p:nvSpPr>
          <p:cNvPr id="2" name="Title 1">
            <a:extLst>
              <a:ext uri="{FF2B5EF4-FFF2-40B4-BE49-F238E27FC236}">
                <a16:creationId xmlns:a16="http://schemas.microsoft.com/office/drawing/2014/main" id="{E131D64C-245B-9496-8319-9B26EC524382}"/>
              </a:ext>
            </a:extLst>
          </p:cNvPr>
          <p:cNvSpPr>
            <a:spLocks noGrp="1"/>
          </p:cNvSpPr>
          <p:nvPr>
            <p:ph type="title"/>
          </p:nvPr>
        </p:nvSpPr>
        <p:spPr/>
        <p:txBody>
          <a:bodyPr/>
          <a:lstStyle/>
          <a:p>
            <a:r>
              <a:rPr lang="en-US">
                <a:cs typeface="Calibri Light"/>
              </a:rPr>
              <a:t>Demonstration – Step 2</a:t>
            </a:r>
            <a:endParaRPr lang="en-US"/>
          </a:p>
        </p:txBody>
      </p:sp>
      <p:pic>
        <p:nvPicPr>
          <p:cNvPr id="5" name="Content Placeholder 4">
            <a:extLst>
              <a:ext uri="{FF2B5EF4-FFF2-40B4-BE49-F238E27FC236}">
                <a16:creationId xmlns:a16="http://schemas.microsoft.com/office/drawing/2014/main" id="{3DA1AAF2-C89C-8720-B097-82BC93B06D4A}"/>
              </a:ext>
            </a:extLst>
          </p:cNvPr>
          <p:cNvPicPr>
            <a:picLocks noGrp="1" noChangeAspect="1"/>
          </p:cNvPicPr>
          <p:nvPr>
            <p:ph idx="1"/>
          </p:nvPr>
        </p:nvPicPr>
        <p:blipFill rotWithShape="1">
          <a:blip r:embed="rId3"/>
          <a:srcRect l="-140" t="56436" r="53455" b="-248"/>
          <a:stretch/>
        </p:blipFill>
        <p:spPr>
          <a:xfrm>
            <a:off x="758408" y="1285933"/>
            <a:ext cx="3977233" cy="2760069"/>
          </a:xfrm>
        </p:spPr>
      </p:pic>
      <p:sp>
        <p:nvSpPr>
          <p:cNvPr id="4" name="Footer Placeholder 3">
            <a:extLst>
              <a:ext uri="{FF2B5EF4-FFF2-40B4-BE49-F238E27FC236}">
                <a16:creationId xmlns:a16="http://schemas.microsoft.com/office/drawing/2014/main" id="{5F59D743-BF48-1FB9-44CC-F2484A977A2D}"/>
              </a:ext>
            </a:extLst>
          </p:cNvPr>
          <p:cNvSpPr>
            <a:spLocks noGrp="1"/>
          </p:cNvSpPr>
          <p:nvPr>
            <p:ph type="ftr" sz="quarter" idx="11"/>
          </p:nvPr>
        </p:nvSpPr>
        <p:spPr/>
        <p:txBody>
          <a:bodyPr/>
          <a:lstStyle/>
          <a:p>
            <a:r>
              <a:rPr lang="en-US"/>
              <a:t>For questions, please use Q&amp;A box and address to “All Panelists.”</a:t>
            </a:r>
          </a:p>
        </p:txBody>
      </p:sp>
      <p:cxnSp>
        <p:nvCxnSpPr>
          <p:cNvPr id="6" name="Straight Arrow Connector 5">
            <a:extLst>
              <a:ext uri="{FF2B5EF4-FFF2-40B4-BE49-F238E27FC236}">
                <a16:creationId xmlns:a16="http://schemas.microsoft.com/office/drawing/2014/main" id="{988EDE1B-E82C-EBA8-D486-374F4D9E2144}"/>
              </a:ext>
            </a:extLst>
          </p:cNvPr>
          <p:cNvCxnSpPr>
            <a:cxnSpLocks/>
          </p:cNvCxnSpPr>
          <p:nvPr/>
        </p:nvCxnSpPr>
        <p:spPr>
          <a:xfrm>
            <a:off x="2909975" y="3228865"/>
            <a:ext cx="3714345" cy="0"/>
          </a:xfrm>
          <a:prstGeom prst="straightConnector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FE764B0-8F89-7780-115D-41CB55018E7B}"/>
              </a:ext>
            </a:extLst>
          </p:cNvPr>
          <p:cNvSpPr/>
          <p:nvPr/>
        </p:nvSpPr>
        <p:spPr>
          <a:xfrm>
            <a:off x="1371598" y="3068320"/>
            <a:ext cx="1538377" cy="254000"/>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E0E5E56-857B-07FF-2F31-4EB6D246CDC0}"/>
              </a:ext>
            </a:extLst>
          </p:cNvPr>
          <p:cNvSpPr/>
          <p:nvPr/>
        </p:nvSpPr>
        <p:spPr>
          <a:xfrm>
            <a:off x="1371598" y="3413760"/>
            <a:ext cx="1849122" cy="285910"/>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A9DF695D-E822-D21F-5DD5-3C409B2ED361}"/>
              </a:ext>
            </a:extLst>
          </p:cNvPr>
          <p:cNvSpPr/>
          <p:nvPr/>
        </p:nvSpPr>
        <p:spPr>
          <a:xfrm>
            <a:off x="1026160" y="3068320"/>
            <a:ext cx="254000" cy="25400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1</a:t>
            </a:r>
          </a:p>
        </p:txBody>
      </p:sp>
      <p:sp>
        <p:nvSpPr>
          <p:cNvPr id="18" name="Oval 17">
            <a:extLst>
              <a:ext uri="{FF2B5EF4-FFF2-40B4-BE49-F238E27FC236}">
                <a16:creationId xmlns:a16="http://schemas.microsoft.com/office/drawing/2014/main" id="{C479C176-5CE6-A890-7C32-20099C20BBDE}"/>
              </a:ext>
            </a:extLst>
          </p:cNvPr>
          <p:cNvSpPr/>
          <p:nvPr/>
        </p:nvSpPr>
        <p:spPr>
          <a:xfrm>
            <a:off x="1021080" y="3413760"/>
            <a:ext cx="254000" cy="254000"/>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a:t>
            </a:r>
          </a:p>
        </p:txBody>
      </p:sp>
    </p:spTree>
    <p:extLst>
      <p:ext uri="{BB962C8B-B14F-4D97-AF65-F5344CB8AC3E}">
        <p14:creationId xmlns:p14="http://schemas.microsoft.com/office/powerpoint/2010/main" val="16642006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18B1C-0DEE-49D5-7B3F-5CF8A819C4ED}"/>
              </a:ext>
            </a:extLst>
          </p:cNvPr>
          <p:cNvSpPr>
            <a:spLocks noGrp="1"/>
          </p:cNvSpPr>
          <p:nvPr>
            <p:ph type="title"/>
          </p:nvPr>
        </p:nvSpPr>
        <p:spPr/>
        <p:txBody>
          <a:bodyPr/>
          <a:lstStyle/>
          <a:p>
            <a:r>
              <a:rPr lang="en-US"/>
              <a:t>Demonstration – Step 3</a:t>
            </a:r>
          </a:p>
        </p:txBody>
      </p:sp>
      <p:pic>
        <p:nvPicPr>
          <p:cNvPr id="6" name="Content Placeholder 5">
            <a:extLst>
              <a:ext uri="{FF2B5EF4-FFF2-40B4-BE49-F238E27FC236}">
                <a16:creationId xmlns:a16="http://schemas.microsoft.com/office/drawing/2014/main" id="{CEE81E09-8962-A3E8-101C-7DB65F3A7425}"/>
              </a:ext>
            </a:extLst>
          </p:cNvPr>
          <p:cNvPicPr>
            <a:picLocks noGrp="1" noChangeAspect="1"/>
          </p:cNvPicPr>
          <p:nvPr>
            <p:ph idx="1"/>
          </p:nvPr>
        </p:nvPicPr>
        <p:blipFill>
          <a:blip r:embed="rId2"/>
          <a:stretch>
            <a:fillRect/>
          </a:stretch>
        </p:blipFill>
        <p:spPr>
          <a:xfrm>
            <a:off x="1623298" y="1881133"/>
            <a:ext cx="8363982" cy="3221463"/>
          </a:xfrm>
        </p:spPr>
      </p:pic>
      <p:sp>
        <p:nvSpPr>
          <p:cNvPr id="4" name="Footer Placeholder 3">
            <a:extLst>
              <a:ext uri="{FF2B5EF4-FFF2-40B4-BE49-F238E27FC236}">
                <a16:creationId xmlns:a16="http://schemas.microsoft.com/office/drawing/2014/main" id="{3120E5B0-880C-E9B8-643C-93A6E3182C04}"/>
              </a:ext>
            </a:extLst>
          </p:cNvPr>
          <p:cNvSpPr>
            <a:spLocks noGrp="1"/>
          </p:cNvSpPr>
          <p:nvPr>
            <p:ph type="ftr" sz="quarter" idx="11"/>
          </p:nvPr>
        </p:nvSpPr>
        <p:spPr/>
        <p:txBody>
          <a:bodyPr/>
          <a:lstStyle/>
          <a:p>
            <a:r>
              <a:rPr lang="en-US"/>
              <a:t>For questions, please use Q&amp;A box and address to “All Panelists.”</a:t>
            </a:r>
          </a:p>
        </p:txBody>
      </p:sp>
      <p:sp>
        <p:nvSpPr>
          <p:cNvPr id="7" name="Rectangle 6">
            <a:extLst>
              <a:ext uri="{FF2B5EF4-FFF2-40B4-BE49-F238E27FC236}">
                <a16:creationId xmlns:a16="http://schemas.microsoft.com/office/drawing/2014/main" id="{409B45CF-9E6C-3921-A61A-F746AF694934}"/>
              </a:ext>
            </a:extLst>
          </p:cNvPr>
          <p:cNvSpPr/>
          <p:nvPr/>
        </p:nvSpPr>
        <p:spPr>
          <a:xfrm>
            <a:off x="1623298" y="3291840"/>
            <a:ext cx="7988062" cy="386080"/>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776347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7E476-E8E4-3C14-71E6-5EF458EAD2D8}"/>
              </a:ext>
            </a:extLst>
          </p:cNvPr>
          <p:cNvSpPr>
            <a:spLocks noGrp="1"/>
          </p:cNvSpPr>
          <p:nvPr>
            <p:ph type="title"/>
          </p:nvPr>
        </p:nvSpPr>
        <p:spPr/>
        <p:txBody>
          <a:bodyPr/>
          <a:lstStyle/>
          <a:p>
            <a:r>
              <a:rPr lang="en-US"/>
              <a:t>Demonstration – Step 4</a:t>
            </a:r>
          </a:p>
        </p:txBody>
      </p:sp>
      <p:sp>
        <p:nvSpPr>
          <p:cNvPr id="4" name="Footer Placeholder 3">
            <a:extLst>
              <a:ext uri="{FF2B5EF4-FFF2-40B4-BE49-F238E27FC236}">
                <a16:creationId xmlns:a16="http://schemas.microsoft.com/office/drawing/2014/main" id="{B54DFC46-380C-5E28-AC48-515978635EA9}"/>
              </a:ext>
            </a:extLst>
          </p:cNvPr>
          <p:cNvSpPr>
            <a:spLocks noGrp="1"/>
          </p:cNvSpPr>
          <p:nvPr>
            <p:ph type="ftr" sz="quarter" idx="11"/>
          </p:nvPr>
        </p:nvSpPr>
        <p:spPr/>
        <p:txBody>
          <a:bodyPr/>
          <a:lstStyle/>
          <a:p>
            <a:r>
              <a:rPr lang="en-US"/>
              <a:t>For questions, please use Q&amp;A box and address to “All Panelists.”</a:t>
            </a:r>
          </a:p>
        </p:txBody>
      </p:sp>
      <p:pic>
        <p:nvPicPr>
          <p:cNvPr id="6" name="Picture 5">
            <a:extLst>
              <a:ext uri="{FF2B5EF4-FFF2-40B4-BE49-F238E27FC236}">
                <a16:creationId xmlns:a16="http://schemas.microsoft.com/office/drawing/2014/main" id="{0D4B849F-A40E-4617-F28D-E61EFDAE7C7A}"/>
              </a:ext>
            </a:extLst>
          </p:cNvPr>
          <p:cNvPicPr>
            <a:picLocks noChangeAspect="1"/>
          </p:cNvPicPr>
          <p:nvPr/>
        </p:nvPicPr>
        <p:blipFill>
          <a:blip r:embed="rId2"/>
          <a:stretch>
            <a:fillRect/>
          </a:stretch>
        </p:blipFill>
        <p:spPr>
          <a:xfrm>
            <a:off x="1849120" y="1428040"/>
            <a:ext cx="7942216" cy="4013656"/>
          </a:xfrm>
          <a:prstGeom prst="rect">
            <a:avLst/>
          </a:prstGeom>
        </p:spPr>
      </p:pic>
      <p:sp>
        <p:nvSpPr>
          <p:cNvPr id="8" name="Rectangle 7">
            <a:extLst>
              <a:ext uri="{FF2B5EF4-FFF2-40B4-BE49-F238E27FC236}">
                <a16:creationId xmlns:a16="http://schemas.microsoft.com/office/drawing/2014/main" id="{C2E605DE-5BE6-717B-D9E2-3AFA41BBB277}"/>
              </a:ext>
            </a:extLst>
          </p:cNvPr>
          <p:cNvSpPr/>
          <p:nvPr/>
        </p:nvSpPr>
        <p:spPr>
          <a:xfrm>
            <a:off x="2194560" y="3291840"/>
            <a:ext cx="3108960" cy="1320800"/>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93579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7E476-E8E4-3C14-71E6-5EF458EAD2D8}"/>
              </a:ext>
            </a:extLst>
          </p:cNvPr>
          <p:cNvSpPr>
            <a:spLocks noGrp="1"/>
          </p:cNvSpPr>
          <p:nvPr>
            <p:ph type="title"/>
          </p:nvPr>
        </p:nvSpPr>
        <p:spPr/>
        <p:txBody>
          <a:bodyPr/>
          <a:lstStyle/>
          <a:p>
            <a:r>
              <a:rPr lang="en-US"/>
              <a:t>Demonstration – Step 5</a:t>
            </a:r>
          </a:p>
        </p:txBody>
      </p:sp>
      <p:sp>
        <p:nvSpPr>
          <p:cNvPr id="4" name="Footer Placeholder 3">
            <a:extLst>
              <a:ext uri="{FF2B5EF4-FFF2-40B4-BE49-F238E27FC236}">
                <a16:creationId xmlns:a16="http://schemas.microsoft.com/office/drawing/2014/main" id="{B54DFC46-380C-5E28-AC48-515978635EA9}"/>
              </a:ext>
            </a:extLst>
          </p:cNvPr>
          <p:cNvSpPr>
            <a:spLocks noGrp="1"/>
          </p:cNvSpPr>
          <p:nvPr>
            <p:ph type="ftr" sz="quarter" idx="11"/>
          </p:nvPr>
        </p:nvSpPr>
        <p:spPr/>
        <p:txBody>
          <a:bodyPr/>
          <a:lstStyle/>
          <a:p>
            <a:r>
              <a:rPr lang="en-US"/>
              <a:t>For questions, please use Q&amp;A box and address to “All Panelists.”</a:t>
            </a:r>
          </a:p>
        </p:txBody>
      </p:sp>
      <p:pic>
        <p:nvPicPr>
          <p:cNvPr id="6" name="Picture 5">
            <a:extLst>
              <a:ext uri="{FF2B5EF4-FFF2-40B4-BE49-F238E27FC236}">
                <a16:creationId xmlns:a16="http://schemas.microsoft.com/office/drawing/2014/main" id="{0D4B849F-A40E-4617-F28D-E61EFDAE7C7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75055" y="2107186"/>
            <a:ext cx="10108439" cy="2860207"/>
          </a:xfrm>
          <a:prstGeom prst="rect">
            <a:avLst/>
          </a:prstGeom>
        </p:spPr>
      </p:pic>
      <p:sp>
        <p:nvSpPr>
          <p:cNvPr id="8" name="Rectangle 7">
            <a:extLst>
              <a:ext uri="{FF2B5EF4-FFF2-40B4-BE49-F238E27FC236}">
                <a16:creationId xmlns:a16="http://schemas.microsoft.com/office/drawing/2014/main" id="{C2E605DE-5BE6-717B-D9E2-3AFA41BBB277}"/>
              </a:ext>
            </a:extLst>
          </p:cNvPr>
          <p:cNvSpPr/>
          <p:nvPr/>
        </p:nvSpPr>
        <p:spPr>
          <a:xfrm>
            <a:off x="711200" y="2905759"/>
            <a:ext cx="9560560" cy="631529"/>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1076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8CE357C9-7D76-4494-A36E-9201DAA25553}"/>
              </a:ext>
            </a:extLst>
          </p:cNvPr>
          <p:cNvSpPr>
            <a:spLocks noGrp="1"/>
          </p:cNvSpPr>
          <p:nvPr>
            <p:ph type="title"/>
          </p:nvPr>
        </p:nvSpPr>
        <p:spPr>
          <a:xfrm>
            <a:off x="1381993" y="41564"/>
            <a:ext cx="9144000" cy="762000"/>
          </a:xfrm>
        </p:spPr>
        <p:txBody>
          <a:bodyPr>
            <a:noAutofit/>
          </a:bodyPr>
          <a:lstStyle/>
          <a:p>
            <a:pPr algn="ctr"/>
            <a:r>
              <a:rPr lang="en-US" b="0">
                <a:latin typeface="+mn-lt"/>
                <a:cs typeface="Arial" panose="020B0604020202020204" pitchFamily="34" charset="0"/>
              </a:rPr>
              <a:t>Bottom Line Up Front</a:t>
            </a:r>
          </a:p>
        </p:txBody>
      </p:sp>
      <p:sp>
        <p:nvSpPr>
          <p:cNvPr id="3" name="Slide Number Placeholder 2">
            <a:extLst>
              <a:ext uri="{FF2B5EF4-FFF2-40B4-BE49-F238E27FC236}">
                <a16:creationId xmlns:a16="http://schemas.microsoft.com/office/drawing/2014/main" id="{59A1866F-F11E-4146-9355-29F47F6E093A}"/>
              </a:ext>
            </a:extLst>
          </p:cNvPr>
          <p:cNvSpPr>
            <a:spLocks noGrp="1"/>
          </p:cNvSpPr>
          <p:nvPr>
            <p:ph type="sldNum" sz="quarter" idx="12"/>
          </p:nvPr>
        </p:nvSpPr>
        <p:spPr/>
        <p:txBody>
          <a:bodyPr/>
          <a:lstStyle/>
          <a:p>
            <a:fld id="{D983F1FA-211D-3044-9E35-958DFBC26156}" type="slidenum">
              <a:rPr lang="en-US" smtClean="0">
                <a:solidFill>
                  <a:prstClr val="white"/>
                </a:solidFill>
              </a:rPr>
              <a:pPr/>
              <a:t>2</a:t>
            </a:fld>
            <a:endParaRPr lang="en-US">
              <a:solidFill>
                <a:prstClr val="white"/>
              </a:solidFill>
            </a:endParaRPr>
          </a:p>
        </p:txBody>
      </p:sp>
      <p:sp>
        <p:nvSpPr>
          <p:cNvPr id="6" name="TextBox 5">
            <a:extLst>
              <a:ext uri="{FF2B5EF4-FFF2-40B4-BE49-F238E27FC236}">
                <a16:creationId xmlns:a16="http://schemas.microsoft.com/office/drawing/2014/main" id="{B576CEE1-B8B6-4853-A174-DD762E626E11}"/>
              </a:ext>
            </a:extLst>
          </p:cNvPr>
          <p:cNvSpPr txBox="1"/>
          <p:nvPr/>
        </p:nvSpPr>
        <p:spPr>
          <a:xfrm>
            <a:off x="145474" y="1274308"/>
            <a:ext cx="11208326" cy="3970318"/>
          </a:xfrm>
          <a:prstGeom prst="rect">
            <a:avLst/>
          </a:prstGeom>
          <a:noFill/>
        </p:spPr>
        <p:txBody>
          <a:bodyPr wrap="square" lIns="91440" tIns="45720" rIns="91440" bIns="45720" anchor="t">
            <a:spAutoFit/>
          </a:bodyPr>
          <a:lstStyle/>
          <a:p>
            <a:r>
              <a:rPr lang="en-US" sz="2800"/>
              <a:t>The purpose of today’s presentation is to provide guidance to the field on the implementation of new legislation under the </a:t>
            </a:r>
            <a:r>
              <a:rPr lang="en-US" sz="2800" b="0" i="0" u="sng" strike="noStrike">
                <a:solidFill>
                  <a:srgbClr val="0563C1"/>
                </a:solidFill>
                <a:effectLst/>
                <a:hlinkClick r:id="rId3" tooltip="Original URL:&#10;https://www.appropriations.senate.gov/imo/media/doc/JRQ121922.PDF&#10;&#10;Click to follow link."/>
              </a:rPr>
              <a:t>Joseph Maxwell Cleland and Robert Joseph Dole Memorial Veterans Benefits Improvement Act of 2022</a:t>
            </a:r>
            <a:r>
              <a:rPr lang="en-US" sz="2800" b="0" i="0" u="none" strike="noStrike">
                <a:solidFill>
                  <a:srgbClr val="000000"/>
                </a:solidFill>
                <a:effectLst/>
              </a:rPr>
              <a:t> (Cleland Dole Act, beginning page 2482) </a:t>
            </a:r>
            <a:r>
              <a:rPr lang="en-US" sz="2800">
                <a:solidFill>
                  <a:srgbClr val="000000"/>
                </a:solidFill>
              </a:rPr>
              <a:t>on the following: </a:t>
            </a:r>
            <a:endParaRPr lang="en-US" sz="2800">
              <a:solidFill>
                <a:srgbClr val="000000"/>
              </a:solidFill>
              <a:cs typeface="Calibri"/>
            </a:endParaRPr>
          </a:p>
          <a:p>
            <a:endParaRPr lang="en-US" sz="2800">
              <a:solidFill>
                <a:srgbClr val="000000"/>
              </a:solidFill>
            </a:endParaRPr>
          </a:p>
          <a:p>
            <a:pPr marL="914400" lvl="1" indent="-457200">
              <a:buFont typeface="Arial" panose="020B0604020202020204" pitchFamily="34" charset="0"/>
              <a:buChar char="•"/>
            </a:pPr>
            <a:r>
              <a:rPr lang="en-US" sz="2800">
                <a:solidFill>
                  <a:srgbClr val="000000"/>
                </a:solidFill>
              </a:rPr>
              <a:t>O</a:t>
            </a:r>
            <a:r>
              <a:rPr lang="en-US" sz="2800" b="0" i="0" u="none" strike="noStrike">
                <a:solidFill>
                  <a:srgbClr val="000000"/>
                </a:solidFill>
                <a:effectLst/>
              </a:rPr>
              <a:t>utside earned income for the conduct of VA Research</a:t>
            </a:r>
          </a:p>
          <a:p>
            <a:endParaRPr lang="en-US" sz="2800">
              <a:solidFill>
                <a:srgbClr val="000000"/>
              </a:solidFill>
            </a:endParaRPr>
          </a:p>
          <a:p>
            <a:r>
              <a:rPr lang="en-US" sz="2800" b="1" i="1" u="none" strike="noStrike">
                <a:effectLst/>
              </a:rPr>
              <a:t>This legislation </a:t>
            </a:r>
            <a:r>
              <a:rPr lang="en-US" sz="2800" b="1" i="1" u="sng" strike="noStrike">
                <a:effectLst/>
              </a:rPr>
              <a:t>resolved</a:t>
            </a:r>
            <a:r>
              <a:rPr lang="en-US" sz="2800" b="1" i="1" u="none" strike="noStrike">
                <a:effectLst/>
              </a:rPr>
              <a:t> a major impediment to VA research.</a:t>
            </a:r>
          </a:p>
          <a:p>
            <a:pPr marL="285750" indent="-285750">
              <a:buFont typeface="Arial" panose="020B0604020202020204" pitchFamily="34" charset="0"/>
              <a:buChar char="•"/>
            </a:pPr>
            <a:endParaRPr lang="en-US" sz="2800"/>
          </a:p>
        </p:txBody>
      </p:sp>
    </p:spTree>
    <p:extLst>
      <p:ext uri="{BB962C8B-B14F-4D97-AF65-F5344CB8AC3E}">
        <p14:creationId xmlns:p14="http://schemas.microsoft.com/office/powerpoint/2010/main" val="29493367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8C9EE-B9B3-23C4-2185-980BC530B23F}"/>
              </a:ext>
            </a:extLst>
          </p:cNvPr>
          <p:cNvSpPr>
            <a:spLocks noGrp="1"/>
          </p:cNvSpPr>
          <p:nvPr>
            <p:ph type="title"/>
          </p:nvPr>
        </p:nvSpPr>
        <p:spPr/>
        <p:txBody>
          <a:bodyPr/>
          <a:lstStyle/>
          <a:p>
            <a:r>
              <a:rPr lang="en-US"/>
              <a:t>References</a:t>
            </a:r>
          </a:p>
        </p:txBody>
      </p:sp>
      <p:sp>
        <p:nvSpPr>
          <p:cNvPr id="3" name="Content Placeholder 2">
            <a:extLst>
              <a:ext uri="{FF2B5EF4-FFF2-40B4-BE49-F238E27FC236}">
                <a16:creationId xmlns:a16="http://schemas.microsoft.com/office/drawing/2014/main" id="{D0E65D06-74D9-F3D5-861B-631ABDF8B934}"/>
              </a:ext>
            </a:extLst>
          </p:cNvPr>
          <p:cNvSpPr>
            <a:spLocks noGrp="1"/>
          </p:cNvSpPr>
          <p:nvPr>
            <p:ph idx="1"/>
          </p:nvPr>
        </p:nvSpPr>
        <p:spPr>
          <a:xfrm>
            <a:off x="289832" y="1184729"/>
            <a:ext cx="11563350" cy="4351338"/>
          </a:xfrm>
        </p:spPr>
        <p:txBody>
          <a:bodyPr vert="horz" lIns="91440" tIns="45720" rIns="91440" bIns="45720" rtlCol="0" anchor="t">
            <a:noAutofit/>
          </a:bodyPr>
          <a:lstStyle/>
          <a:p>
            <a:r>
              <a:rPr lang="en-US" sz="2600" u="sng">
                <a:solidFill>
                  <a:srgbClr val="0B6CB2"/>
                </a:solidFill>
                <a:latin typeface="Calibri"/>
                <a:cs typeface="Arial"/>
                <a:hlinkClick r:id="rId2"/>
              </a:rPr>
              <a:t>The Joseph Maxwell Cleland and Robert Joseph Dole Memorial Veterans Benefits and Health Care Improvement Act of 2022 § 182 (2022)</a:t>
            </a:r>
            <a:r>
              <a:rPr lang="en-US" sz="2600">
                <a:solidFill>
                  <a:srgbClr val="444444"/>
                </a:solidFill>
                <a:latin typeface="Calibri"/>
                <a:cs typeface="Arial"/>
              </a:rPr>
              <a:t>,</a:t>
            </a:r>
            <a:endParaRPr lang="en-US" sz="2600">
              <a:solidFill>
                <a:srgbClr val="000000"/>
              </a:solidFill>
              <a:latin typeface="Calibri"/>
              <a:cs typeface="Arial"/>
            </a:endParaRPr>
          </a:p>
          <a:p>
            <a:r>
              <a:rPr lang="en-US" sz="2600">
                <a:solidFill>
                  <a:srgbClr val="000000"/>
                </a:solidFill>
                <a:latin typeface="Calibri"/>
                <a:cs typeface="Arial"/>
              </a:rPr>
              <a:t>VHA Notice 2023-09(1): Outside Compensation for Performance of VA Research (November 28, 2023; amended December 5, 2023) located at </a:t>
            </a:r>
            <a:r>
              <a:rPr lang="en-US" sz="2600">
                <a:solidFill>
                  <a:srgbClr val="000000"/>
                </a:solidFill>
                <a:latin typeface="Calibri"/>
                <a:cs typeface="Arial"/>
                <a:hlinkClick r:id="rId3"/>
              </a:rPr>
              <a:t>VHA Publications</a:t>
            </a:r>
            <a:endParaRPr lang="en-US" sz="2600">
              <a:solidFill>
                <a:srgbClr val="000000"/>
              </a:solidFill>
              <a:latin typeface="Calibri"/>
              <a:cs typeface="Arial"/>
            </a:endParaRPr>
          </a:p>
          <a:p>
            <a:r>
              <a:rPr lang="en-US" sz="2600">
                <a:solidFill>
                  <a:srgbClr val="000000"/>
                </a:solidFill>
                <a:latin typeface="Calibri"/>
                <a:cs typeface="Arial"/>
              </a:rPr>
              <a:t>ORD Webpage: Outside Compensation Guidelines located at </a:t>
            </a:r>
            <a:r>
              <a:rPr lang="en-US" sz="2600">
                <a:solidFill>
                  <a:srgbClr val="000000"/>
                </a:solidFill>
                <a:ea typeface="+mn-lt"/>
                <a:cs typeface="+mn-lt"/>
                <a:hlinkClick r:id="rId4"/>
              </a:rPr>
              <a:t>Outside Compensation Guidelines: Guidance under development (va.gov)</a:t>
            </a:r>
            <a:endParaRPr lang="en-US" sz="2600">
              <a:solidFill>
                <a:srgbClr val="000000"/>
              </a:solidFill>
              <a:latin typeface="Calibri"/>
              <a:cs typeface="Calibri"/>
            </a:endParaRPr>
          </a:p>
          <a:p>
            <a:pPr lvl="1"/>
            <a:r>
              <a:rPr lang="en-US" sz="2600" u="sng">
                <a:solidFill>
                  <a:srgbClr val="0B6CB2"/>
                </a:solidFill>
                <a:latin typeface="Calibri"/>
                <a:cs typeface="Arial"/>
                <a:hlinkClick r:id="rId5"/>
              </a:rPr>
              <a:t>Delegation of Authority from Secretary to the Under Secretary - Outside Compensation</a:t>
            </a:r>
            <a:endParaRPr lang="en-US" sz="2600" u="sng">
              <a:solidFill>
                <a:srgbClr val="0B6CB2"/>
              </a:solidFill>
              <a:latin typeface="Calibri"/>
              <a:cs typeface="Arial"/>
            </a:endParaRPr>
          </a:p>
          <a:p>
            <a:pPr lvl="1"/>
            <a:r>
              <a:rPr lang="en-US" sz="2600" u="sng">
                <a:solidFill>
                  <a:srgbClr val="0B6CB2"/>
                </a:solidFill>
                <a:latin typeface="Calibri"/>
                <a:cs typeface="Arial"/>
                <a:hlinkClick r:id="rId6"/>
              </a:rPr>
              <a:t>Delegation of Authority from Under Secretary to Facility Directors</a:t>
            </a:r>
            <a:endParaRPr lang="en-US" sz="2600" u="sng">
              <a:solidFill>
                <a:srgbClr val="0B6CB2"/>
              </a:solidFill>
              <a:latin typeface="Calibri"/>
              <a:cs typeface="Arial"/>
            </a:endParaRPr>
          </a:p>
          <a:p>
            <a:pPr lvl="1"/>
            <a:r>
              <a:rPr lang="en-US" sz="2600" u="sng">
                <a:solidFill>
                  <a:srgbClr val="0B6CB2"/>
                </a:solidFill>
                <a:latin typeface="Calibri"/>
                <a:cs typeface="Arial"/>
                <a:hlinkClick r:id="rId7"/>
              </a:rPr>
              <a:t>Matrix: Scenarios and Considerations for Outside Pay to VA Compensated Investigators and Staff Engaged in VA Research</a:t>
            </a:r>
            <a:endParaRPr lang="en-US" sz="2600" u="sng">
              <a:solidFill>
                <a:srgbClr val="0B6CB2"/>
              </a:solidFill>
              <a:latin typeface="Calibri"/>
              <a:cs typeface="Arial"/>
            </a:endParaRPr>
          </a:p>
          <a:p>
            <a:r>
              <a:rPr lang="en-US" sz="3000">
                <a:latin typeface="Calibri"/>
                <a:cs typeface="Arial"/>
              </a:rPr>
              <a:t>Sample Memo - </a:t>
            </a:r>
          </a:p>
          <a:p>
            <a:endParaRPr lang="en-US" sz="2600">
              <a:effectLst/>
              <a:latin typeface="Calibri" panose="020F0502020204030204" pitchFamily="34" charset="0"/>
              <a:ea typeface="Calibri" panose="020F0502020204030204" pitchFamily="34" charset="0"/>
              <a:cs typeface="Calibri"/>
            </a:endParaRPr>
          </a:p>
        </p:txBody>
      </p:sp>
      <p:sp>
        <p:nvSpPr>
          <p:cNvPr id="4" name="Footer Placeholder 3">
            <a:extLst>
              <a:ext uri="{FF2B5EF4-FFF2-40B4-BE49-F238E27FC236}">
                <a16:creationId xmlns:a16="http://schemas.microsoft.com/office/drawing/2014/main" id="{DD1B454B-2D23-6718-83D3-25D82869E03E}"/>
              </a:ext>
            </a:extLst>
          </p:cNvPr>
          <p:cNvSpPr>
            <a:spLocks noGrp="1"/>
          </p:cNvSpPr>
          <p:nvPr>
            <p:ph type="ftr" sz="quarter" idx="11"/>
          </p:nvPr>
        </p:nvSpPr>
        <p:spPr/>
        <p:txBody>
          <a:bodyPr/>
          <a:lstStyle/>
          <a:p>
            <a:r>
              <a:rPr lang="en-US"/>
              <a:t>For questions, please use Q&amp;A box and address to “All Panelists.”</a:t>
            </a:r>
          </a:p>
        </p:txBody>
      </p:sp>
    </p:spTree>
    <p:extLst>
      <p:ext uri="{BB962C8B-B14F-4D97-AF65-F5344CB8AC3E}">
        <p14:creationId xmlns:p14="http://schemas.microsoft.com/office/powerpoint/2010/main" val="1825668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EF704-E5BE-4E32-9483-B65A4377559D}"/>
              </a:ext>
            </a:extLst>
          </p:cNvPr>
          <p:cNvSpPr>
            <a:spLocks noGrp="1"/>
          </p:cNvSpPr>
          <p:nvPr>
            <p:ph type="title"/>
          </p:nvPr>
        </p:nvSpPr>
        <p:spPr>
          <a:xfrm>
            <a:off x="730390" y="-67250"/>
            <a:ext cx="9895951" cy="1033669"/>
          </a:xfrm>
        </p:spPr>
        <p:txBody>
          <a:bodyPr>
            <a:normAutofit/>
          </a:bodyPr>
          <a:lstStyle/>
          <a:p>
            <a:pPr algn="ctr"/>
            <a:r>
              <a:rPr lang="en-US" b="0">
                <a:solidFill>
                  <a:srgbClr val="FFFFFF"/>
                </a:solidFill>
                <a:latin typeface="+mn-lt"/>
                <a:cs typeface="Calibri Light"/>
              </a:rPr>
              <a:t>Summary of Issue</a:t>
            </a:r>
            <a:endParaRPr lang="en-US" b="0">
              <a:solidFill>
                <a:srgbClr val="FFFFFF"/>
              </a:solidFill>
              <a:latin typeface="+mn-lt"/>
            </a:endParaRPr>
          </a:p>
        </p:txBody>
      </p:sp>
      <p:sp>
        <p:nvSpPr>
          <p:cNvPr id="3" name="Content Placeholder 2">
            <a:extLst>
              <a:ext uri="{FF2B5EF4-FFF2-40B4-BE49-F238E27FC236}">
                <a16:creationId xmlns:a16="http://schemas.microsoft.com/office/drawing/2014/main" id="{6C832279-29AB-4E4A-BE91-C51204D012A0}"/>
              </a:ext>
            </a:extLst>
          </p:cNvPr>
          <p:cNvSpPr>
            <a:spLocks noGrp="1"/>
          </p:cNvSpPr>
          <p:nvPr>
            <p:ph idx="1"/>
          </p:nvPr>
        </p:nvSpPr>
        <p:spPr>
          <a:xfrm>
            <a:off x="164872" y="1022579"/>
            <a:ext cx="11666415" cy="5183952"/>
          </a:xfrm>
        </p:spPr>
        <p:txBody>
          <a:bodyPr vert="horz" lIns="91440" tIns="45720" rIns="91440" bIns="45720" rtlCol="0" anchor="ctr">
            <a:noAutofit/>
          </a:bodyPr>
          <a:lstStyle/>
          <a:p>
            <a:r>
              <a:rPr lang="en-US" sz="2400">
                <a:ea typeface="Times New Roman" panose="02020603050405020304" pitchFamily="18" charset="0"/>
              </a:rPr>
              <a:t>In the past, VA employees who had compensated appointments believed they could accept compensation from an affiliate or NPC to conduct VA</a:t>
            </a:r>
            <a:r>
              <a:rPr lang="en-US" sz="2400">
                <a:effectLst/>
                <a:ea typeface="Times New Roman" panose="02020603050405020304" pitchFamily="18" charset="0"/>
              </a:rPr>
              <a:t> research </a:t>
            </a:r>
            <a:r>
              <a:rPr lang="en-US" sz="2400">
                <a:ea typeface="Times New Roman" panose="02020603050405020304" pitchFamily="18" charset="0"/>
              </a:rPr>
              <a:t>outside their VA tour of duty at the VA Facility under Without Compensation (WOC) appointments.</a:t>
            </a:r>
            <a:endParaRPr lang="en-US" sz="2400">
              <a:ea typeface="Times New Roman" panose="02020603050405020304" pitchFamily="18" charset="0"/>
              <a:cs typeface="Calibri"/>
            </a:endParaRPr>
          </a:p>
          <a:p>
            <a:r>
              <a:rPr lang="en-US" sz="2400">
                <a:ea typeface="+mn-lt"/>
              </a:rPr>
              <a:t>But</a:t>
            </a:r>
            <a:r>
              <a:rPr lang="en-US" sz="2400">
                <a:ea typeface="+mn-lt"/>
                <a:cs typeface="+mn-lt"/>
              </a:rPr>
              <a:t> the Department of Justice (DOJ) concluded that the WOC exception to</a:t>
            </a:r>
            <a:r>
              <a:rPr lang="en-US" sz="2400"/>
              <a:t> 18 U</a:t>
            </a:r>
            <a:r>
              <a:rPr lang="en-US" sz="2400">
                <a:ea typeface="+mn-lt"/>
                <a:cs typeface="+mn-lt"/>
              </a:rPr>
              <a:t>.S.C. § 209 did not apply if the employee had a compensated appointment. </a:t>
            </a:r>
            <a:r>
              <a:rPr lang="en-US" sz="2400"/>
              <a:t>Thus, </a:t>
            </a:r>
            <a:r>
              <a:rPr lang="en-US" sz="2400" b="1"/>
              <a:t>VA compensated employees </a:t>
            </a:r>
            <a:r>
              <a:rPr lang="en-US" sz="2400"/>
              <a:t>who conducted VA Research outside their VA tour of duty could not be compensated by a non-Federal entity to work on VA research even if they held a separate WOC appointment (unless the State Treasury exception applied). </a:t>
            </a:r>
            <a:endParaRPr lang="en-US" sz="2400">
              <a:cs typeface="Calibri"/>
            </a:endParaRPr>
          </a:p>
          <a:p>
            <a:r>
              <a:rPr lang="en-US" sz="2400">
                <a:solidFill>
                  <a:srgbClr val="000000"/>
                </a:solidFill>
                <a:ea typeface="Calibri" panose="020F0502020204030204"/>
                <a:cs typeface="Calibri"/>
              </a:rPr>
              <a:t>In December of 2022, President Biden signed into law the </a:t>
            </a:r>
            <a:r>
              <a:rPr lang="en-US" sz="2400">
                <a:solidFill>
                  <a:srgbClr val="000000"/>
                </a:solidFill>
                <a:ea typeface="+mn-lt"/>
                <a:cs typeface="+mn-lt"/>
              </a:rPr>
              <a:t>Joseph Maxwell Cleland and Robert Joseph Dole Memorial Veterans Benefits and Health Care Improvement Act of 2022 (Cleland-Dole Act).   </a:t>
            </a:r>
          </a:p>
          <a:p>
            <a:r>
              <a:rPr lang="en-US" sz="2400">
                <a:solidFill>
                  <a:srgbClr val="000000"/>
                </a:solidFill>
                <a:ea typeface="+mn-lt"/>
                <a:cs typeface="+mn-lt"/>
              </a:rPr>
              <a:t>This law included a provision (codified at 38 U.S.C. § 7382(b)) to address the guidance VA received from DOJ by providing a legislative solution to the 18 U.S.C. § 209 violation. </a:t>
            </a:r>
            <a:endParaRPr lang="en-US" sz="2400">
              <a:solidFill>
                <a:srgbClr val="000000"/>
              </a:solidFill>
              <a:ea typeface="Calibri" panose="020F0502020204030204"/>
              <a:cs typeface="Calibri"/>
            </a:endParaRPr>
          </a:p>
          <a:p>
            <a:pPr lvl="1"/>
            <a:endParaRPr lang="en-US" sz="1900">
              <a:solidFill>
                <a:srgbClr val="000000"/>
              </a:solidFill>
              <a:ea typeface="Calibri" panose="020F0502020204030204"/>
              <a:cs typeface="Calibri"/>
            </a:endParaRPr>
          </a:p>
        </p:txBody>
      </p:sp>
    </p:spTree>
    <p:extLst>
      <p:ext uri="{BB962C8B-B14F-4D97-AF65-F5344CB8AC3E}">
        <p14:creationId xmlns:p14="http://schemas.microsoft.com/office/powerpoint/2010/main" val="37837218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8CE357C9-7D76-4494-A36E-9201DAA25553}"/>
              </a:ext>
            </a:extLst>
          </p:cNvPr>
          <p:cNvSpPr>
            <a:spLocks noGrp="1"/>
          </p:cNvSpPr>
          <p:nvPr>
            <p:ph type="title"/>
          </p:nvPr>
        </p:nvSpPr>
        <p:spPr>
          <a:xfrm>
            <a:off x="37605" y="77360"/>
            <a:ext cx="11742963" cy="762000"/>
          </a:xfrm>
        </p:spPr>
        <p:txBody>
          <a:bodyPr>
            <a:noAutofit/>
          </a:bodyPr>
          <a:lstStyle/>
          <a:p>
            <a:pPr algn="ctr"/>
            <a:r>
              <a:rPr lang="en-US" b="0">
                <a:latin typeface="+mn-lt"/>
                <a:cs typeface="Arial"/>
              </a:rPr>
              <a:t> Section </a:t>
            </a:r>
            <a:r>
              <a:rPr lang="en-US" b="0">
                <a:solidFill>
                  <a:srgbClr val="FFFFFF"/>
                </a:solidFill>
                <a:latin typeface="Calibri"/>
                <a:cs typeface="Arial"/>
              </a:rPr>
              <a:t> 7382: </a:t>
            </a:r>
            <a:r>
              <a:rPr lang="en-US" b="0">
                <a:latin typeface="+mn-lt"/>
                <a:cs typeface="Arial"/>
              </a:rPr>
              <a:t>Cleland-Dole Act: </a:t>
            </a:r>
            <a:br>
              <a:rPr lang="en-US" b="0">
                <a:latin typeface="+mn-lt"/>
                <a:cs typeface="Arial"/>
              </a:rPr>
            </a:br>
            <a:r>
              <a:rPr lang="en-US" b="0">
                <a:latin typeface="+mn-lt"/>
                <a:cs typeface="Arial"/>
              </a:rPr>
              <a:t>Legislative Solution on Outside Earned Income</a:t>
            </a:r>
            <a:endParaRPr lang="en-US" b="0">
              <a:latin typeface="+mn-lt"/>
              <a:cs typeface="Arial" panose="020B0604020202020204" pitchFamily="34" charset="0"/>
            </a:endParaRPr>
          </a:p>
        </p:txBody>
      </p:sp>
      <p:sp>
        <p:nvSpPr>
          <p:cNvPr id="3" name="Slide Number Placeholder 2">
            <a:extLst>
              <a:ext uri="{FF2B5EF4-FFF2-40B4-BE49-F238E27FC236}">
                <a16:creationId xmlns:a16="http://schemas.microsoft.com/office/drawing/2014/main" id="{59A1866F-F11E-4146-9355-29F47F6E093A}"/>
              </a:ext>
            </a:extLst>
          </p:cNvPr>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a:solidFill>
                <a:prstClr val="white"/>
              </a:solidFill>
            </a:endParaRPr>
          </a:p>
        </p:txBody>
      </p:sp>
      <p:graphicFrame>
        <p:nvGraphicFramePr>
          <p:cNvPr id="5" name="Table 4">
            <a:extLst>
              <a:ext uri="{FF2B5EF4-FFF2-40B4-BE49-F238E27FC236}">
                <a16:creationId xmlns:a16="http://schemas.microsoft.com/office/drawing/2014/main" id="{20D762EE-F469-46D7-B4B9-70AC3E4D9710}"/>
              </a:ext>
            </a:extLst>
          </p:cNvPr>
          <p:cNvGraphicFramePr>
            <a:graphicFrameLocks noGrp="1"/>
          </p:cNvGraphicFramePr>
          <p:nvPr>
            <p:extLst>
              <p:ext uri="{D42A27DB-BD31-4B8C-83A1-F6EECF244321}">
                <p14:modId xmlns:p14="http://schemas.microsoft.com/office/powerpoint/2010/main" val="1702570051"/>
              </p:ext>
            </p:extLst>
          </p:nvPr>
        </p:nvGraphicFramePr>
        <p:xfrm>
          <a:off x="1524000" y="1246909"/>
          <a:ext cx="8746176" cy="4518076"/>
        </p:xfrm>
        <a:graphic>
          <a:graphicData uri="http://schemas.openxmlformats.org/drawingml/2006/table">
            <a:tbl>
              <a:tblPr firstRow="1" bandRow="1"/>
              <a:tblGrid>
                <a:gridCol w="8746176">
                  <a:extLst>
                    <a:ext uri="{9D8B030D-6E8A-4147-A177-3AD203B41FA5}">
                      <a16:colId xmlns:a16="http://schemas.microsoft.com/office/drawing/2014/main" val="1258765808"/>
                    </a:ext>
                  </a:extLst>
                </a:gridCol>
              </a:tblGrid>
              <a:tr h="4064457">
                <a:tc>
                  <a:txBody>
                    <a:bodyPr/>
                    <a:lstStyle/>
                    <a:p>
                      <a:pPr marL="690563" marR="0" lvl="1" indent="-347663"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900"/>
                    </a:p>
                    <a:p>
                      <a:pPr marL="690563" marR="0" lvl="1" indent="-347663"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900">
                        <a:latin typeface="+mn-lt"/>
                        <a:cs typeface="Arial" panose="020B0604020202020204" pitchFamily="34" charset="0"/>
                      </a:endParaRPr>
                    </a:p>
                  </a:txBody>
                  <a:tcPr marL="27432" marR="27432">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39145154"/>
                  </a:ext>
                </a:extLst>
              </a:tr>
              <a:tr h="453619">
                <a:tc>
                  <a:txBody>
                    <a:bodyPr/>
                    <a:lstStyle/>
                    <a:p>
                      <a:pPr marL="450850" marR="0" lvl="1" indent="0" algn="l">
                        <a:lnSpc>
                          <a:spcPct val="100000"/>
                        </a:lnSpc>
                        <a:spcBef>
                          <a:spcPts val="0"/>
                        </a:spcBef>
                        <a:spcAft>
                          <a:spcPts val="0"/>
                        </a:spcAft>
                        <a:buClr>
                          <a:srgbClr val="000000"/>
                        </a:buClr>
                        <a:buSzTx/>
                        <a:buFont typeface="Arial" panose="020B0604020202020204" pitchFamily="34" charset="0"/>
                        <a:buNone/>
                      </a:pPr>
                      <a:endParaRPr lang="en-US" sz="2000" b="0" i="0" u="none" strike="noStrike" kern="1200" noProof="0">
                        <a:solidFill>
                          <a:schemeClr val="tx1"/>
                        </a:solidFill>
                        <a:latin typeface="+mn-lt"/>
                        <a:cs typeface="Calibri" panose="020F0502020204030204" pitchFamily="34" charset="0"/>
                      </a:endParaRPr>
                    </a:p>
                  </a:txBody>
                  <a:tcPr marL="27432" marR="27432">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644064"/>
                  </a:ext>
                </a:extLst>
              </a:tr>
            </a:tbl>
          </a:graphicData>
        </a:graphic>
      </p:graphicFrame>
      <p:sp>
        <p:nvSpPr>
          <p:cNvPr id="6" name="Content Placeholder 1">
            <a:extLst>
              <a:ext uri="{FF2B5EF4-FFF2-40B4-BE49-F238E27FC236}">
                <a16:creationId xmlns:a16="http://schemas.microsoft.com/office/drawing/2014/main" id="{8C2AB55A-2319-4BBB-82E5-951AB94795A4}"/>
              </a:ext>
            </a:extLst>
          </p:cNvPr>
          <p:cNvSpPr>
            <a:spLocks noGrp="1"/>
          </p:cNvSpPr>
          <p:nvPr>
            <p:ph idx="1"/>
          </p:nvPr>
        </p:nvSpPr>
        <p:spPr>
          <a:xfrm>
            <a:off x="94012" y="1056409"/>
            <a:ext cx="12016170" cy="5301571"/>
          </a:xfrm>
        </p:spPr>
        <p:txBody>
          <a:bodyPr vert="horz" lIns="91440" tIns="45720" rIns="91440" bIns="45720" rtlCol="0" anchor="t">
            <a:noAutofit/>
          </a:bodyPr>
          <a:lstStyle/>
          <a:p>
            <a:pPr marL="0" marR="0" indent="0">
              <a:buNone/>
            </a:pPr>
            <a:r>
              <a:rPr lang="en-US" sz="2300">
                <a:effectLst/>
                <a:ea typeface="Times New Roman" panose="02020603050405020304" pitchFamily="18" charset="0"/>
              </a:rPr>
              <a:t>‘‘(b) OUTSIDE EARNED INCOME FOR RESEARCH FOR THE DEPARTMENT.—</a:t>
            </a:r>
            <a:endParaRPr lang="en-US" sz="2300">
              <a:effectLst/>
              <a:ea typeface="Times New Roman" panose="02020603050405020304" pitchFamily="18" charset="0"/>
              <a:cs typeface="Calibri"/>
            </a:endParaRPr>
          </a:p>
          <a:p>
            <a:pPr marL="0" indent="0">
              <a:buNone/>
            </a:pPr>
            <a:r>
              <a:rPr lang="en-US" sz="2300">
                <a:effectLst/>
                <a:ea typeface="Times New Roman" panose="02020603050405020304" pitchFamily="18" charset="0"/>
              </a:rPr>
              <a:t>(1) Compensation from a nonprofit corporation established under subchapter IV of this chapter, or a university affiliated with the Department, may be paid, without regard to section 209 of title 18, to an employee described in paragraph (2), for research conducted pursuant to section 7303 of this title if—</a:t>
            </a:r>
            <a:r>
              <a:rPr lang="en-US" sz="2300">
                <a:ea typeface="Times New Roman" panose="02020603050405020304" pitchFamily="18" charset="0"/>
              </a:rPr>
              <a:t> </a:t>
            </a:r>
            <a:endParaRPr lang="en-US" sz="2300">
              <a:effectLst/>
              <a:ea typeface="Times New Roman" panose="02020603050405020304" pitchFamily="18" charset="0"/>
              <a:cs typeface="Calibri"/>
            </a:endParaRPr>
          </a:p>
          <a:p>
            <a:pPr marL="0" indent="0">
              <a:buNone/>
            </a:pPr>
            <a:r>
              <a:rPr lang="en-US" sz="2300">
                <a:effectLst/>
                <a:ea typeface="Times New Roman" panose="02020603050405020304" pitchFamily="18" charset="0"/>
              </a:rPr>
              <a:t>‘‘(A) the research has been approved in accordance with procedures prescribed by the Under Secretary for Health;</a:t>
            </a:r>
            <a:r>
              <a:rPr lang="en-US" sz="2300">
                <a:ea typeface="Times New Roman" panose="02020603050405020304" pitchFamily="18" charset="0"/>
              </a:rPr>
              <a:t> </a:t>
            </a:r>
            <a:endParaRPr lang="en-US" sz="2300">
              <a:effectLst/>
              <a:ea typeface="Times New Roman" panose="02020603050405020304" pitchFamily="18" charset="0"/>
              <a:cs typeface="Calibri"/>
            </a:endParaRPr>
          </a:p>
          <a:p>
            <a:pPr marL="0" indent="0">
              <a:buNone/>
            </a:pPr>
            <a:r>
              <a:rPr lang="en-US" sz="2300">
                <a:effectLst/>
                <a:ea typeface="Times New Roman" panose="02020603050405020304" pitchFamily="18" charset="0"/>
              </a:rPr>
              <a:t>‘‘(B) the employee conducts research under the supervision of personnel of the Department; and</a:t>
            </a:r>
            <a:r>
              <a:rPr lang="en-US" sz="2300">
                <a:ea typeface="Times New Roman" panose="02020603050405020304" pitchFamily="18" charset="0"/>
              </a:rPr>
              <a:t> </a:t>
            </a:r>
            <a:endParaRPr lang="en-US" sz="2300">
              <a:effectLst/>
              <a:ea typeface="Times New Roman" panose="02020603050405020304" pitchFamily="18" charset="0"/>
              <a:cs typeface="Calibri"/>
            </a:endParaRPr>
          </a:p>
          <a:p>
            <a:pPr marL="0" marR="0" indent="0">
              <a:buNone/>
            </a:pPr>
            <a:r>
              <a:rPr lang="en-US" sz="2300">
                <a:effectLst/>
                <a:ea typeface="Times New Roman" panose="02020603050405020304" pitchFamily="18" charset="0"/>
              </a:rPr>
              <a:t>‘‘(C) the Secretary agreed to the terms of such compensation in writing.</a:t>
            </a:r>
            <a:br>
              <a:rPr lang="en-US" sz="2300">
                <a:effectLst/>
                <a:ea typeface="Times New Roman" panose="02020603050405020304" pitchFamily="18" charset="0"/>
              </a:rPr>
            </a:br>
            <a:endParaRPr lang="en-US" sz="2300">
              <a:effectLst/>
              <a:ea typeface="Times New Roman" panose="02020603050405020304" pitchFamily="18" charset="0"/>
              <a:cs typeface="Calibri"/>
            </a:endParaRPr>
          </a:p>
          <a:p>
            <a:pPr marL="0" indent="0">
              <a:buNone/>
            </a:pPr>
            <a:r>
              <a:rPr lang="en-US" sz="2300">
                <a:effectLst/>
                <a:ea typeface="Times New Roman" panose="02020603050405020304" pitchFamily="18" charset="0"/>
              </a:rPr>
              <a:t>‘‘(2) An employee described in this subsection is an employee who has an appointment within the Department, whether with or without compensation, and without regard to the source of such compensation.’’</a:t>
            </a:r>
            <a:r>
              <a:rPr lang="en-US" sz="2300">
                <a:ea typeface="Times New Roman" panose="02020603050405020304" pitchFamily="18" charset="0"/>
              </a:rPr>
              <a:t> </a:t>
            </a:r>
            <a:endParaRPr lang="en-US" sz="2300">
              <a:effectLst/>
              <a:ea typeface="Times New Roman" panose="02020603050405020304" pitchFamily="18" charset="0"/>
              <a:cs typeface="Calibri"/>
            </a:endParaRPr>
          </a:p>
          <a:p>
            <a:endParaRPr lang="en-US" sz="2300">
              <a:cs typeface="Calibri"/>
            </a:endParaRPr>
          </a:p>
        </p:txBody>
      </p:sp>
    </p:spTree>
    <p:extLst>
      <p:ext uri="{BB962C8B-B14F-4D97-AF65-F5344CB8AC3E}">
        <p14:creationId xmlns:p14="http://schemas.microsoft.com/office/powerpoint/2010/main" val="682120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A71CF-D4AE-42D6-BC6C-7594AC5BB4D1}"/>
              </a:ext>
            </a:extLst>
          </p:cNvPr>
          <p:cNvSpPr>
            <a:spLocks noGrp="1"/>
          </p:cNvSpPr>
          <p:nvPr>
            <p:ph type="title"/>
          </p:nvPr>
        </p:nvSpPr>
        <p:spPr>
          <a:xfrm>
            <a:off x="753341" y="169624"/>
            <a:ext cx="10515600" cy="618385"/>
          </a:xfrm>
        </p:spPr>
        <p:txBody>
          <a:bodyPr/>
          <a:lstStyle/>
          <a:p>
            <a:pPr algn="ctr"/>
            <a:r>
              <a:rPr lang="en-US" b="0">
                <a:latin typeface="+mn-lt"/>
              </a:rPr>
              <a:t>Agency Requirements to Implement Section 7382 of the Cleland-Dole Act </a:t>
            </a:r>
            <a:endParaRPr lang="en-US" b="0">
              <a:latin typeface="+mn-lt"/>
              <a:cs typeface="Calibri"/>
            </a:endParaRPr>
          </a:p>
        </p:txBody>
      </p:sp>
      <p:sp>
        <p:nvSpPr>
          <p:cNvPr id="3" name="Content Placeholder 2">
            <a:extLst>
              <a:ext uri="{FF2B5EF4-FFF2-40B4-BE49-F238E27FC236}">
                <a16:creationId xmlns:a16="http://schemas.microsoft.com/office/drawing/2014/main" id="{79D1E248-2363-4F8F-81B3-740F49FF7A77}"/>
              </a:ext>
            </a:extLst>
          </p:cNvPr>
          <p:cNvSpPr>
            <a:spLocks noGrp="1"/>
          </p:cNvSpPr>
          <p:nvPr>
            <p:ph idx="1"/>
          </p:nvPr>
        </p:nvSpPr>
        <p:spPr>
          <a:xfrm>
            <a:off x="98466" y="973694"/>
            <a:ext cx="11979848" cy="4909230"/>
          </a:xfrm>
        </p:spPr>
        <p:txBody>
          <a:bodyPr vert="horz" lIns="91440" tIns="45720" rIns="91440" bIns="45720" rtlCol="0" anchor="t">
            <a:noAutofit/>
          </a:bodyPr>
          <a:lstStyle/>
          <a:p>
            <a:r>
              <a:rPr lang="en-US"/>
              <a:t>Section 7382 cannot be implemented by VA without implementing policy. Therefore, ORD and the Office of General Counsel  (OGC) worked together to develop implementation guidance into proposed VHA Directive 1200.13 (Financial Conflicts of Interest in Research) which is scheduled for publication in calendar year 2024.</a:t>
            </a:r>
            <a:endParaRPr lang="en-US">
              <a:cs typeface="Calibri"/>
            </a:endParaRPr>
          </a:p>
          <a:p>
            <a:r>
              <a:rPr lang="en-US"/>
              <a:t>Pending publication of VHA Directive 1200.13, ORD worked with OGC Ethics Specialty Team (EST) to publish VHA Notice 2023-09(1), (</a:t>
            </a:r>
            <a:r>
              <a:rPr lang="en-US">
                <a:ea typeface="+mn-lt"/>
                <a:cs typeface="+mn-lt"/>
              </a:rPr>
              <a:t>Outside Compensation for Performance of VA Research) </a:t>
            </a:r>
            <a:r>
              <a:rPr lang="en-US"/>
              <a:t>to provide immediate implementation of Section 7382 with procedural steps.  </a:t>
            </a:r>
            <a:endParaRPr lang="en-US">
              <a:cs typeface="Calibri" panose="020F0502020204030204"/>
            </a:endParaRPr>
          </a:p>
          <a:p>
            <a:r>
              <a:rPr lang="en-US">
                <a:cs typeface="Calibri" panose="020F0502020204030204"/>
              </a:rPr>
              <a:t>VHA Notice 2023-09 was originally published with an implementation date of December 31, 2023, for actions regarding existing projects. It was amended on December 5, 2023, to change the implementation date to February 29, 2024. </a:t>
            </a:r>
          </a:p>
          <a:p>
            <a:pPr marL="0" indent="0">
              <a:buNone/>
            </a:pPr>
            <a:endParaRPr lang="en-US" sz="2000">
              <a:cs typeface="Calibri" panose="020F0502020204030204"/>
            </a:endParaRPr>
          </a:p>
        </p:txBody>
      </p:sp>
    </p:spTree>
    <p:extLst>
      <p:ext uri="{BB962C8B-B14F-4D97-AF65-F5344CB8AC3E}">
        <p14:creationId xmlns:p14="http://schemas.microsoft.com/office/powerpoint/2010/main" val="23548157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A71CF-D4AE-42D6-BC6C-7594AC5BB4D1}"/>
              </a:ext>
            </a:extLst>
          </p:cNvPr>
          <p:cNvSpPr>
            <a:spLocks noGrp="1"/>
          </p:cNvSpPr>
          <p:nvPr>
            <p:ph type="title"/>
          </p:nvPr>
        </p:nvSpPr>
        <p:spPr>
          <a:xfrm>
            <a:off x="-8659" y="169624"/>
            <a:ext cx="12189278" cy="618385"/>
          </a:xfrm>
        </p:spPr>
        <p:txBody>
          <a:bodyPr/>
          <a:lstStyle/>
          <a:p>
            <a:pPr algn="ctr"/>
            <a:r>
              <a:rPr lang="en-US" b="0">
                <a:latin typeface="+mn-lt"/>
              </a:rPr>
              <a:t>Agency Requirements to Implement Section 7382 (cont.) </a:t>
            </a:r>
            <a:endParaRPr lang="en-US" b="0">
              <a:latin typeface="+mn-lt"/>
              <a:cs typeface="Calibri"/>
            </a:endParaRPr>
          </a:p>
        </p:txBody>
      </p:sp>
      <p:sp>
        <p:nvSpPr>
          <p:cNvPr id="3" name="Content Placeholder 2">
            <a:extLst>
              <a:ext uri="{FF2B5EF4-FFF2-40B4-BE49-F238E27FC236}">
                <a16:creationId xmlns:a16="http://schemas.microsoft.com/office/drawing/2014/main" id="{79D1E248-2363-4F8F-81B3-740F49FF7A77}"/>
              </a:ext>
            </a:extLst>
          </p:cNvPr>
          <p:cNvSpPr>
            <a:spLocks noGrp="1"/>
          </p:cNvSpPr>
          <p:nvPr>
            <p:ph idx="1"/>
          </p:nvPr>
        </p:nvSpPr>
        <p:spPr>
          <a:xfrm>
            <a:off x="275359" y="1000908"/>
            <a:ext cx="11326706" cy="4351338"/>
          </a:xfrm>
        </p:spPr>
        <p:txBody>
          <a:bodyPr vert="horz" lIns="91440" tIns="45720" rIns="91440" bIns="45720" rtlCol="0" anchor="t">
            <a:noAutofit/>
          </a:bodyPr>
          <a:lstStyle/>
          <a:p>
            <a:r>
              <a:rPr lang="en-US"/>
              <a:t>VHA Notice 2023-09 is implemented with delegations of authority from the Secretary to the Under Secretary, then to the Medical Center Directors allowing for approval of the terms of the outside compensation.  </a:t>
            </a:r>
            <a:endParaRPr lang="en-US">
              <a:cs typeface="Calibri"/>
            </a:endParaRPr>
          </a:p>
          <a:p>
            <a:r>
              <a:rPr lang="en-US">
                <a:cs typeface="Calibri"/>
              </a:rPr>
              <a:t>Copies of both the Notice and the Delegation of Authority are included as appendices with this webinar.  </a:t>
            </a:r>
          </a:p>
          <a:p>
            <a:r>
              <a:rPr lang="en-US"/>
              <a:t>Facilities will need to be-in-compliance with VHA Notice 2023-09 by February 29, 2024.</a:t>
            </a:r>
            <a:endParaRPr lang="en-US">
              <a:cs typeface="Calibri"/>
            </a:endParaRPr>
          </a:p>
          <a:p>
            <a:pPr lvl="1"/>
            <a:r>
              <a:rPr lang="en-US" sz="2800"/>
              <a:t>Note:  If your VA Facility investigators were exempt due to a State Treasury exception status, the process only applies to new projects initiated after January 1, 2024. </a:t>
            </a:r>
            <a:endParaRPr lang="en-US" sz="2800">
              <a:cs typeface="Calibri"/>
            </a:endParaRPr>
          </a:p>
          <a:p>
            <a:endParaRPr lang="en-US">
              <a:cs typeface="Calibri"/>
            </a:endParaRPr>
          </a:p>
          <a:p>
            <a:endParaRPr lang="en-US"/>
          </a:p>
        </p:txBody>
      </p:sp>
    </p:spTree>
    <p:extLst>
      <p:ext uri="{BB962C8B-B14F-4D97-AF65-F5344CB8AC3E}">
        <p14:creationId xmlns:p14="http://schemas.microsoft.com/office/powerpoint/2010/main" val="7266581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D2ED5F-B42B-9597-80D6-EB46FB11EA5A}"/>
              </a:ext>
            </a:extLst>
          </p:cNvPr>
          <p:cNvSpPr>
            <a:spLocks noGrp="1"/>
          </p:cNvSpPr>
          <p:nvPr>
            <p:ph type="title"/>
          </p:nvPr>
        </p:nvSpPr>
        <p:spPr>
          <a:xfrm>
            <a:off x="95250" y="207084"/>
            <a:ext cx="12012385" cy="495922"/>
          </a:xfrm>
        </p:spPr>
        <p:txBody>
          <a:bodyPr/>
          <a:lstStyle/>
          <a:p>
            <a:r>
              <a:rPr lang="en-US"/>
              <a:t>Who Are the Primary Responsible Parties to Implement </a:t>
            </a:r>
            <a:br>
              <a:rPr lang="en-US"/>
            </a:br>
            <a:r>
              <a:rPr lang="en-US"/>
              <a:t>VHA Notice 2023-09? </a:t>
            </a:r>
          </a:p>
        </p:txBody>
      </p:sp>
      <p:sp>
        <p:nvSpPr>
          <p:cNvPr id="3" name="Content Placeholder 2">
            <a:extLst>
              <a:ext uri="{FF2B5EF4-FFF2-40B4-BE49-F238E27FC236}">
                <a16:creationId xmlns:a16="http://schemas.microsoft.com/office/drawing/2014/main" id="{A0F8A913-2ECD-8047-BFC6-8F417ADAE61B}"/>
              </a:ext>
            </a:extLst>
          </p:cNvPr>
          <p:cNvSpPr>
            <a:spLocks noGrp="1"/>
          </p:cNvSpPr>
          <p:nvPr>
            <p:ph idx="1"/>
          </p:nvPr>
        </p:nvSpPr>
        <p:spPr>
          <a:xfrm>
            <a:off x="317046" y="1035050"/>
            <a:ext cx="11672206" cy="4351338"/>
          </a:xfrm>
        </p:spPr>
        <p:txBody>
          <a:bodyPr vert="horz" lIns="91440" tIns="45720" rIns="91440" bIns="45720" rtlCol="0" anchor="t">
            <a:noAutofit/>
          </a:bodyPr>
          <a:lstStyle/>
          <a:p>
            <a:r>
              <a:rPr lang="en-US" sz="2500" b="1"/>
              <a:t>VA Medical Facility Director</a:t>
            </a:r>
            <a:r>
              <a:rPr lang="en-US" sz="2500"/>
              <a:t> (MCD) – Approving Official</a:t>
            </a:r>
            <a:endParaRPr lang="en-US" sz="2500">
              <a:cs typeface="Calibri"/>
            </a:endParaRPr>
          </a:p>
          <a:p>
            <a:r>
              <a:rPr lang="en-US" sz="2500" b="1"/>
              <a:t>Chief of Staff</a:t>
            </a:r>
            <a:r>
              <a:rPr lang="en-US" sz="2500"/>
              <a:t> (COS)</a:t>
            </a:r>
            <a:endParaRPr lang="en-US" sz="2500">
              <a:cs typeface="Calibri"/>
            </a:endParaRPr>
          </a:p>
          <a:p>
            <a:pPr lvl="1"/>
            <a:r>
              <a:rPr lang="en-US" sz="2500"/>
              <a:t>Can be delegated by MCD to be approving official.</a:t>
            </a:r>
            <a:endParaRPr lang="en-US" sz="2500">
              <a:cs typeface="Calibri"/>
            </a:endParaRPr>
          </a:p>
          <a:p>
            <a:r>
              <a:rPr lang="en-US" sz="2500" b="1"/>
              <a:t>Associate Chief of Staff for Research and Development (</a:t>
            </a:r>
            <a:r>
              <a:rPr lang="en-US" sz="2500"/>
              <a:t>ACOS/R&amp;D)</a:t>
            </a:r>
            <a:endParaRPr lang="en-US" sz="2500">
              <a:cs typeface="Calibri"/>
            </a:endParaRPr>
          </a:p>
          <a:p>
            <a:pPr lvl="1"/>
            <a:r>
              <a:rPr lang="en-US" sz="2500"/>
              <a:t>Reviews and forwards requests,</a:t>
            </a:r>
            <a:endParaRPr lang="en-US" sz="2500">
              <a:cs typeface="Calibri"/>
            </a:endParaRPr>
          </a:p>
          <a:p>
            <a:pPr lvl="1"/>
            <a:r>
              <a:rPr lang="en-US" sz="2500"/>
              <a:t>Ensures decisions are entered into VAIRRS, and</a:t>
            </a:r>
            <a:endParaRPr lang="en-US" sz="2500">
              <a:cs typeface="Calibri"/>
            </a:endParaRPr>
          </a:p>
          <a:p>
            <a:pPr lvl="1"/>
            <a:r>
              <a:rPr lang="en-US" sz="2500"/>
              <a:t>Notifies the PI of decision. </a:t>
            </a:r>
            <a:endParaRPr lang="en-US" sz="2500">
              <a:cs typeface="Calibri"/>
            </a:endParaRPr>
          </a:p>
          <a:p>
            <a:pPr lvl="1"/>
            <a:r>
              <a:rPr lang="en-US" sz="2500"/>
              <a:t>Please note that the Administrative Officer/Research can assist with these activities</a:t>
            </a:r>
            <a:endParaRPr lang="en-US" sz="2500">
              <a:cs typeface="Calibri"/>
            </a:endParaRPr>
          </a:p>
          <a:p>
            <a:r>
              <a:rPr lang="en-US" sz="2500" b="1"/>
              <a:t>Chair of VA Facility Research and Development (R&amp;D) Committee</a:t>
            </a:r>
            <a:endParaRPr lang="en-US" sz="2500" b="1">
              <a:cs typeface="Calibri"/>
            </a:endParaRPr>
          </a:p>
          <a:p>
            <a:pPr lvl="1"/>
            <a:r>
              <a:rPr lang="en-US" sz="2500">
                <a:ea typeface="+mn-lt"/>
                <a:cs typeface="+mn-lt"/>
              </a:rPr>
              <a:t>Ensuring that each review assesses the request with regard to project budget appropriateness, the effort required to conduct the project, and the rationale for outside compensation.</a:t>
            </a:r>
            <a:endParaRPr lang="en-US" sz="2500">
              <a:cs typeface="Calibri" panose="020F0502020204030204"/>
            </a:endParaRPr>
          </a:p>
          <a:p>
            <a:pPr marL="0" indent="0">
              <a:buNone/>
            </a:pPr>
            <a:endParaRPr lang="en-US"/>
          </a:p>
        </p:txBody>
      </p:sp>
      <p:sp>
        <p:nvSpPr>
          <p:cNvPr id="4" name="Footer Placeholder 3">
            <a:extLst>
              <a:ext uri="{FF2B5EF4-FFF2-40B4-BE49-F238E27FC236}">
                <a16:creationId xmlns:a16="http://schemas.microsoft.com/office/drawing/2014/main" id="{65901427-DB28-5E0F-ABD9-A78DC9408858}"/>
              </a:ext>
            </a:extLst>
          </p:cNvPr>
          <p:cNvSpPr>
            <a:spLocks noGrp="1"/>
          </p:cNvSpPr>
          <p:nvPr>
            <p:ph type="ftr" sz="quarter" idx="11"/>
          </p:nvPr>
        </p:nvSpPr>
        <p:spPr/>
        <p:txBody>
          <a:bodyPr/>
          <a:lstStyle/>
          <a:p>
            <a:r>
              <a:rPr lang="en-US"/>
              <a:t>For questions, please use Q&amp;A box and address to “All Panelists.”</a:t>
            </a:r>
          </a:p>
        </p:txBody>
      </p:sp>
    </p:spTree>
    <p:extLst>
      <p:ext uri="{BB962C8B-B14F-4D97-AF65-F5344CB8AC3E}">
        <p14:creationId xmlns:p14="http://schemas.microsoft.com/office/powerpoint/2010/main" val="5163553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D2ED5F-B42B-9597-80D6-EB46FB11EA5A}"/>
              </a:ext>
            </a:extLst>
          </p:cNvPr>
          <p:cNvSpPr>
            <a:spLocks noGrp="1"/>
          </p:cNvSpPr>
          <p:nvPr>
            <p:ph type="title"/>
          </p:nvPr>
        </p:nvSpPr>
        <p:spPr>
          <a:xfrm>
            <a:off x="190500" y="383979"/>
            <a:ext cx="11808278" cy="645599"/>
          </a:xfrm>
        </p:spPr>
        <p:txBody>
          <a:bodyPr/>
          <a:lstStyle/>
          <a:p>
            <a:r>
              <a:rPr lang="en-US"/>
              <a:t>Who Are the Primary Responsible Parties to Implement </a:t>
            </a:r>
            <a:br>
              <a:rPr lang="en-US"/>
            </a:br>
            <a:r>
              <a:rPr lang="en-US"/>
              <a:t>VHA Notice 2023-09? (cont.) </a:t>
            </a:r>
          </a:p>
          <a:p>
            <a:endParaRPr lang="en-US">
              <a:cs typeface="Calibri Light"/>
            </a:endParaRPr>
          </a:p>
        </p:txBody>
      </p:sp>
      <p:sp>
        <p:nvSpPr>
          <p:cNvPr id="3" name="Content Placeholder 2">
            <a:extLst>
              <a:ext uri="{FF2B5EF4-FFF2-40B4-BE49-F238E27FC236}">
                <a16:creationId xmlns:a16="http://schemas.microsoft.com/office/drawing/2014/main" id="{A0F8A913-2ECD-8047-BFC6-8F417ADAE61B}"/>
              </a:ext>
            </a:extLst>
          </p:cNvPr>
          <p:cNvSpPr>
            <a:spLocks noGrp="1"/>
          </p:cNvSpPr>
          <p:nvPr>
            <p:ph idx="1"/>
          </p:nvPr>
        </p:nvSpPr>
        <p:spPr>
          <a:xfrm>
            <a:off x="187032" y="1043917"/>
            <a:ext cx="11808278" cy="3562124"/>
          </a:xfrm>
        </p:spPr>
        <p:txBody>
          <a:bodyPr vert="horz" lIns="91440" tIns="45720" rIns="91440" bIns="45720" rtlCol="0" anchor="t">
            <a:noAutofit/>
          </a:bodyPr>
          <a:lstStyle/>
          <a:p>
            <a:r>
              <a:rPr lang="en-US" sz="2600" b="1"/>
              <a:t>Principal Investigator</a:t>
            </a:r>
            <a:r>
              <a:rPr lang="en-US" sz="2600"/>
              <a:t>:</a:t>
            </a:r>
            <a:endParaRPr lang="en-US" sz="2600">
              <a:cs typeface="Calibri"/>
            </a:endParaRPr>
          </a:p>
          <a:p>
            <a:pPr lvl="1"/>
            <a:r>
              <a:rPr lang="en-US" sz="2600">
                <a:solidFill>
                  <a:srgbClr val="000000"/>
                </a:solidFill>
              </a:rPr>
              <a:t>Submits </a:t>
            </a:r>
            <a:r>
              <a:rPr lang="en-US" sz="2600" b="0" i="0" u="none" strike="noStrike" baseline="0">
                <a:solidFill>
                  <a:srgbClr val="000000"/>
                </a:solidFill>
              </a:rPr>
              <a:t>the project, including the project budget, through VAIRRS to the R&amp;D</a:t>
            </a:r>
            <a:r>
              <a:rPr lang="en-US" sz="2600">
                <a:solidFill>
                  <a:srgbClr val="000000"/>
                </a:solidFill>
              </a:rPr>
              <a:t> Committee.</a:t>
            </a:r>
          </a:p>
          <a:p>
            <a:pPr lvl="1"/>
            <a:r>
              <a:rPr lang="en-US" sz="2600">
                <a:solidFill>
                  <a:srgbClr val="000000"/>
                </a:solidFill>
              </a:rPr>
              <a:t>Ensures</a:t>
            </a:r>
            <a:r>
              <a:rPr lang="en-US" sz="2600" b="0" i="0" u="none" strike="noStrike" baseline="0">
                <a:solidFill>
                  <a:srgbClr val="000000"/>
                </a:solidFill>
              </a:rPr>
              <a:t> that the following information is provided when the VA NPC or Affiliate is providing compensation to individuals who hold a VA-compensated appointment to perform the proposed VA research outside their paid tour of duty.</a:t>
            </a:r>
            <a:endParaRPr lang="en-US" sz="2600" b="0" i="0" u="none" strike="noStrike" baseline="0">
              <a:solidFill>
                <a:srgbClr val="000000"/>
              </a:solidFill>
              <a:cs typeface="Calibri"/>
            </a:endParaRPr>
          </a:p>
          <a:p>
            <a:pPr lvl="2"/>
            <a:r>
              <a:rPr lang="en-US" sz="2600" b="0" i="0" u="none" strike="noStrike" baseline="0">
                <a:solidFill>
                  <a:srgbClr val="000000"/>
                </a:solidFill>
              </a:rPr>
              <a:t>Justification as to why the project requires salary support to VA-compensated employees (this could be the Affiliate-VA MOU outlining the effort and hours for all projects).</a:t>
            </a:r>
            <a:r>
              <a:rPr lang="en-US" sz="2600">
                <a:solidFill>
                  <a:srgbClr val="000000"/>
                </a:solidFill>
              </a:rPr>
              <a:t> </a:t>
            </a:r>
            <a:endParaRPr lang="en-US" sz="2600">
              <a:solidFill>
                <a:srgbClr val="000000"/>
              </a:solidFill>
              <a:cs typeface="Calibri"/>
            </a:endParaRPr>
          </a:p>
          <a:p>
            <a:pPr lvl="1"/>
            <a:r>
              <a:rPr lang="en-US" sz="2600">
                <a:solidFill>
                  <a:srgbClr val="000000"/>
                </a:solidFill>
              </a:rPr>
              <a:t>Submits</a:t>
            </a:r>
            <a:r>
              <a:rPr lang="en-US" sz="2600" b="0" i="0" u="none" strike="noStrike" baseline="0">
                <a:solidFill>
                  <a:srgbClr val="000000"/>
                </a:solidFill>
              </a:rPr>
              <a:t>, in writing, modifications to the employee’s salary after final approval that require funder or sponsor approval or are considered substantial (&gt;25% change to the approved effort or hours) to the ACOS/R&amp;D for review (or to the </a:t>
            </a:r>
            <a:r>
              <a:rPr lang="en-US" sz="2600">
                <a:solidFill>
                  <a:srgbClr val="000000"/>
                </a:solidFill>
              </a:rPr>
              <a:t>COS</a:t>
            </a:r>
            <a:r>
              <a:rPr lang="en-US" sz="2600" b="0" i="0" u="none" strike="noStrike" baseline="0">
                <a:solidFill>
                  <a:srgbClr val="000000"/>
                </a:solidFill>
              </a:rPr>
              <a:t> if the ACOS/R&amp;D is the PI).</a:t>
            </a:r>
            <a:r>
              <a:rPr lang="en-US" sz="2600">
                <a:solidFill>
                  <a:srgbClr val="000000"/>
                </a:solidFill>
              </a:rPr>
              <a:t> </a:t>
            </a:r>
            <a:endParaRPr lang="en-US" sz="2600" b="0" i="0" u="none" strike="noStrike" baseline="0">
              <a:solidFill>
                <a:srgbClr val="000000"/>
              </a:solidFill>
              <a:cs typeface="Calibri"/>
            </a:endParaRPr>
          </a:p>
          <a:p>
            <a:endParaRPr lang="en-US" b="0" i="0" u="none" strike="noStrike" baseline="0">
              <a:solidFill>
                <a:srgbClr val="000000"/>
              </a:solidFill>
              <a:cs typeface="Calibri"/>
            </a:endParaRPr>
          </a:p>
          <a:p>
            <a:endParaRPr lang="en-US" sz="2400" b="0" i="0" u="none" strike="noStrike" baseline="0">
              <a:solidFill>
                <a:srgbClr val="000000"/>
              </a:solidFill>
            </a:endParaRPr>
          </a:p>
          <a:p>
            <a:pPr lvl="1"/>
            <a:endParaRPr lang="en-US"/>
          </a:p>
          <a:p>
            <a:pPr marL="0" indent="0">
              <a:buNone/>
            </a:pPr>
            <a:endParaRPr lang="en-US"/>
          </a:p>
        </p:txBody>
      </p:sp>
      <p:sp>
        <p:nvSpPr>
          <p:cNvPr id="4" name="Footer Placeholder 3">
            <a:extLst>
              <a:ext uri="{FF2B5EF4-FFF2-40B4-BE49-F238E27FC236}">
                <a16:creationId xmlns:a16="http://schemas.microsoft.com/office/drawing/2014/main" id="{65901427-DB28-5E0F-ABD9-A78DC9408858}"/>
              </a:ext>
            </a:extLst>
          </p:cNvPr>
          <p:cNvSpPr>
            <a:spLocks noGrp="1"/>
          </p:cNvSpPr>
          <p:nvPr>
            <p:ph type="ftr" sz="quarter" idx="11"/>
          </p:nvPr>
        </p:nvSpPr>
        <p:spPr/>
        <p:txBody>
          <a:bodyPr/>
          <a:lstStyle/>
          <a:p>
            <a:r>
              <a:rPr lang="en-US"/>
              <a:t>For questions, please use Q&amp;A box and address to “All Panelists.”</a:t>
            </a:r>
          </a:p>
        </p:txBody>
      </p:sp>
    </p:spTree>
    <p:extLst>
      <p:ext uri="{BB962C8B-B14F-4D97-AF65-F5344CB8AC3E}">
        <p14:creationId xmlns:p14="http://schemas.microsoft.com/office/powerpoint/2010/main" val="381420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60F9D-0AF4-26EF-FBAD-61C356B1656B}"/>
              </a:ext>
            </a:extLst>
          </p:cNvPr>
          <p:cNvSpPr>
            <a:spLocks noGrp="1"/>
          </p:cNvSpPr>
          <p:nvPr>
            <p:ph type="title"/>
          </p:nvPr>
        </p:nvSpPr>
        <p:spPr>
          <a:xfrm>
            <a:off x="79799" y="252472"/>
            <a:ext cx="11726635" cy="305421"/>
          </a:xfrm>
        </p:spPr>
        <p:txBody>
          <a:bodyPr/>
          <a:lstStyle/>
          <a:p>
            <a:r>
              <a:rPr lang="en-US"/>
              <a:t>Actions to Be Taken Now for Existing Projects: Step 1</a:t>
            </a:r>
            <a:endParaRPr lang="en-US">
              <a:cs typeface="Calibri Light"/>
            </a:endParaRPr>
          </a:p>
        </p:txBody>
      </p:sp>
      <p:sp>
        <p:nvSpPr>
          <p:cNvPr id="3" name="Content Placeholder 2">
            <a:extLst>
              <a:ext uri="{FF2B5EF4-FFF2-40B4-BE49-F238E27FC236}">
                <a16:creationId xmlns:a16="http://schemas.microsoft.com/office/drawing/2014/main" id="{AD15D326-2146-827B-348C-0B78C6AC7D65}"/>
              </a:ext>
            </a:extLst>
          </p:cNvPr>
          <p:cNvSpPr>
            <a:spLocks noGrp="1"/>
          </p:cNvSpPr>
          <p:nvPr>
            <p:ph idx="1"/>
          </p:nvPr>
        </p:nvSpPr>
        <p:spPr>
          <a:xfrm>
            <a:off x="323850" y="961571"/>
            <a:ext cx="11087100" cy="4351338"/>
          </a:xfrm>
        </p:spPr>
        <p:txBody>
          <a:bodyPr vert="horz" lIns="91440" tIns="45720" rIns="91440" bIns="45720" rtlCol="0" anchor="t">
            <a:noAutofit/>
          </a:bodyPr>
          <a:lstStyle/>
          <a:p>
            <a:pPr marL="514350" indent="-514350">
              <a:buFont typeface="Arial" panose="020B0604020202020204" pitchFamily="34" charset="0"/>
              <a:buAutoNum type="alphaUcPeriod"/>
            </a:pPr>
            <a:r>
              <a:rPr lang="en-US">
                <a:solidFill>
                  <a:srgbClr val="000000"/>
                </a:solidFill>
                <a:cs typeface="Calibri"/>
              </a:rPr>
              <a:t>Projects performed at VA facilities where the State Treasury Exception applied do not need to take this action.</a:t>
            </a:r>
            <a:endParaRPr lang="en-US">
              <a:solidFill>
                <a:srgbClr val="000000"/>
              </a:solidFill>
            </a:endParaRPr>
          </a:p>
          <a:p>
            <a:pPr marL="514350" indent="-514350">
              <a:buAutoNum type="alphaUcPeriod"/>
            </a:pPr>
            <a:r>
              <a:rPr lang="en-US" sz="3000">
                <a:solidFill>
                  <a:srgbClr val="000000"/>
                </a:solidFill>
              </a:rPr>
              <a:t>Identify</a:t>
            </a:r>
            <a:r>
              <a:rPr lang="en-US" sz="3000" b="0" i="0" u="none" strike="noStrike" baseline="0">
                <a:solidFill>
                  <a:srgbClr val="000000"/>
                </a:solidFill>
              </a:rPr>
              <a:t> all </a:t>
            </a:r>
            <a:r>
              <a:rPr lang="en-US" sz="3000">
                <a:solidFill>
                  <a:srgbClr val="000000"/>
                </a:solidFill>
              </a:rPr>
              <a:t>a</a:t>
            </a:r>
            <a:r>
              <a:rPr lang="en-US" sz="3000" b="0" i="0" u="none" strike="noStrike" baseline="0">
                <a:solidFill>
                  <a:srgbClr val="000000"/>
                </a:solidFill>
              </a:rPr>
              <a:t>ctive VA existing research projects where outside compensation is paid directly to any individual who also holds a paid VA appointment to perform the VA research. </a:t>
            </a:r>
            <a:endParaRPr lang="en-US" sz="3000">
              <a:solidFill>
                <a:srgbClr val="000000"/>
              </a:solidFill>
            </a:endParaRPr>
          </a:p>
          <a:p>
            <a:pPr marL="514350" indent="-514350">
              <a:buAutoNum type="alphaUcPeriod"/>
            </a:pPr>
            <a:r>
              <a:rPr lang="en-US" sz="3000">
                <a:solidFill>
                  <a:srgbClr val="000000"/>
                </a:solidFill>
              </a:rPr>
              <a:t>Ensure that each project has an updated VA Innovation and Research Review System (VAIRRS) Project Cover Sheet and completed Study Team Tracking wizard.</a:t>
            </a:r>
            <a:endParaRPr lang="en-US" sz="3000">
              <a:solidFill>
                <a:srgbClr val="000000"/>
              </a:solidFill>
              <a:cs typeface="Calibri"/>
            </a:endParaRPr>
          </a:p>
          <a:p>
            <a:pPr marL="514350" indent="-514350">
              <a:buAutoNum type="alphaUcPeriod"/>
            </a:pPr>
            <a:r>
              <a:rPr lang="en-US" sz="3000">
                <a:solidFill>
                  <a:srgbClr val="000000"/>
                </a:solidFill>
              </a:rPr>
              <a:t>Make sure the funding source is accurate and updated in VAIRRS.</a:t>
            </a:r>
            <a:endParaRPr lang="en-US" sz="3000">
              <a:solidFill>
                <a:srgbClr val="000000"/>
              </a:solidFill>
              <a:cs typeface="Calibri"/>
            </a:endParaRPr>
          </a:p>
          <a:p>
            <a:pPr marL="514350" indent="-514350">
              <a:buAutoNum type="alphaUcPeriod"/>
            </a:pPr>
            <a:r>
              <a:rPr lang="en-US" sz="3000">
                <a:solidFill>
                  <a:srgbClr val="000000"/>
                </a:solidFill>
              </a:rPr>
              <a:t>Identify the VA employees that are receiving outside compensation and mark accordingly (explained at end of training).</a:t>
            </a:r>
            <a:endParaRPr lang="en-US" sz="3000">
              <a:solidFill>
                <a:srgbClr val="000000"/>
              </a:solidFill>
              <a:cs typeface="Calibri"/>
            </a:endParaRPr>
          </a:p>
          <a:p>
            <a:pPr marL="514350" indent="-514350">
              <a:buAutoNum type="alphaUcPeriod"/>
            </a:pPr>
            <a:endParaRPr lang="en-US" sz="3000" b="0" i="0" u="none" strike="noStrike" baseline="0">
              <a:solidFill>
                <a:srgbClr val="000000"/>
              </a:solidFill>
              <a:cs typeface="Calibri"/>
            </a:endParaRPr>
          </a:p>
          <a:p>
            <a:pPr marL="514350" indent="-514350">
              <a:buAutoNum type="alphaUcPeriod"/>
            </a:pPr>
            <a:endParaRPr lang="en-US" b="0" i="0" u="none" strike="noStrike" baseline="0">
              <a:solidFill>
                <a:srgbClr val="000000"/>
              </a:solidFill>
              <a:cs typeface="Calibri"/>
            </a:endParaRPr>
          </a:p>
          <a:p>
            <a:endParaRPr lang="en-US" b="0" i="0" u="none" strike="noStrike" baseline="0">
              <a:solidFill>
                <a:srgbClr val="000000"/>
              </a:solidFill>
              <a:cs typeface="Calibri"/>
            </a:endParaRPr>
          </a:p>
          <a:p>
            <a:endParaRPr lang="en-US"/>
          </a:p>
          <a:p>
            <a:endParaRPr lang="en-US"/>
          </a:p>
        </p:txBody>
      </p:sp>
      <p:sp>
        <p:nvSpPr>
          <p:cNvPr id="4" name="Footer Placeholder 3">
            <a:extLst>
              <a:ext uri="{FF2B5EF4-FFF2-40B4-BE49-F238E27FC236}">
                <a16:creationId xmlns:a16="http://schemas.microsoft.com/office/drawing/2014/main" id="{234D3BF2-AC2F-58B1-4235-276902710EA9}"/>
              </a:ext>
            </a:extLst>
          </p:cNvPr>
          <p:cNvSpPr>
            <a:spLocks noGrp="1"/>
          </p:cNvSpPr>
          <p:nvPr>
            <p:ph type="ftr" sz="quarter" idx="11"/>
          </p:nvPr>
        </p:nvSpPr>
        <p:spPr/>
        <p:txBody>
          <a:bodyPr/>
          <a:lstStyle/>
          <a:p>
            <a:r>
              <a:rPr lang="en-US"/>
              <a:t>For questions, please use Q&amp;A box and address to “All Panelists.”</a:t>
            </a:r>
          </a:p>
        </p:txBody>
      </p:sp>
    </p:spTree>
    <p:extLst>
      <p:ext uri="{BB962C8B-B14F-4D97-AF65-F5344CB8AC3E}">
        <p14:creationId xmlns:p14="http://schemas.microsoft.com/office/powerpoint/2010/main" val="17245167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ppt/theme/theme2.xml><?xml version="1.0" encoding="utf-8"?>
<a:theme xmlns:a="http://schemas.openxmlformats.org/drawingml/2006/main" name="1_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ppt/theme/theme3.xml><?xml version="1.0" encoding="utf-8"?>
<a:theme xmlns:a="http://schemas.openxmlformats.org/drawingml/2006/main" name="2_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419DC370A04394CAAC96DED1DC9A007" ma:contentTypeVersion="12" ma:contentTypeDescription="Create a new document." ma:contentTypeScope="" ma:versionID="21239b369ca5af4d6307dd45d7533269">
  <xsd:schema xmlns:xsd="http://www.w3.org/2001/XMLSchema" xmlns:xs="http://www.w3.org/2001/XMLSchema" xmlns:p="http://schemas.microsoft.com/office/2006/metadata/properties" xmlns:ns1="http://schemas.microsoft.com/sharepoint/v3" xmlns:ns2="b3b97a4c-43ac-46e7-9970-904f1e1efc09" xmlns:ns3="77dce447-0566-47ff-8c07-c9b85fda5322" targetNamespace="http://schemas.microsoft.com/office/2006/metadata/properties" ma:root="true" ma:fieldsID="ebb1f5861d17875dc072722a9e3d69fc" ns1:_="" ns2:_="" ns3:_="">
    <xsd:import namespace="http://schemas.microsoft.com/sharepoint/v3"/>
    <xsd:import namespace="b3b97a4c-43ac-46e7-9970-904f1e1efc09"/>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LengthInSeconds" minOccurs="0"/>
                <xsd:element ref="ns2:MediaServiceAutoTags" minOccurs="0"/>
                <xsd:element ref="ns2:MediaServiceDateTaken" minOccurs="0"/>
                <xsd:element ref="ns2:MediaServiceObjectDetectorVersion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b97a4c-43ac-46e7-9970-904f1e1efc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1F3763D-716A-4226-9C35-267E0B71CE93}">
  <ds:schemaRefs>
    <ds:schemaRef ds:uri="http://purl.org/dc/elements/1.1/"/>
    <ds:schemaRef ds:uri="b3b97a4c-43ac-46e7-9970-904f1e1efc09"/>
    <ds:schemaRef ds:uri="http://schemas.microsoft.com/office/infopath/2007/PartnerControls"/>
    <ds:schemaRef ds:uri="http://purl.org/dc/terms/"/>
    <ds:schemaRef ds:uri="http://schemas.microsoft.com/office/2006/metadata/properties"/>
    <ds:schemaRef ds:uri="http://purl.org/dc/dcmitype/"/>
    <ds:schemaRef ds:uri="http://schemas.microsoft.com/sharepoint/v3"/>
    <ds:schemaRef ds:uri="http://schemas.microsoft.com/office/2006/documentManagement/types"/>
    <ds:schemaRef ds:uri="http://schemas.openxmlformats.org/package/2006/metadata/core-properties"/>
    <ds:schemaRef ds:uri="77dce447-0566-47ff-8c07-c9b85fda5322"/>
    <ds:schemaRef ds:uri="http://www.w3.org/XML/1998/namespace"/>
  </ds:schemaRefs>
</ds:datastoreItem>
</file>

<file path=customXml/itemProps2.xml><?xml version="1.0" encoding="utf-8"?>
<ds:datastoreItem xmlns:ds="http://schemas.openxmlformats.org/officeDocument/2006/customXml" ds:itemID="{6DCFD1E0-B439-4E22-84E4-4719B4946518}">
  <ds:schemaRefs>
    <ds:schemaRef ds:uri="http://schemas.microsoft.com/sharepoint/v3/contenttype/forms"/>
  </ds:schemaRefs>
</ds:datastoreItem>
</file>

<file path=customXml/itemProps3.xml><?xml version="1.0" encoding="utf-8"?>
<ds:datastoreItem xmlns:ds="http://schemas.openxmlformats.org/officeDocument/2006/customXml" ds:itemID="{B804CCD2-0E5E-40C1-BDD0-2B807248FD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3b97a4c-43ac-46e7-9970-904f1e1efc09"/>
    <ds:schemaRef ds:uri="77dce447-0566-47ff-8c07-c9b85fda53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hooseVA</Template>
  <TotalTime>1</TotalTime>
  <Words>1986</Words>
  <Application>Microsoft Office PowerPoint</Application>
  <PresentationFormat>Widescreen</PresentationFormat>
  <Paragraphs>120</Paragraphs>
  <Slides>20</Slides>
  <Notes>3</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27" baseType="lpstr">
      <vt:lpstr>Arial</vt:lpstr>
      <vt:lpstr>Calibri</vt:lpstr>
      <vt:lpstr>Calibri Light</vt:lpstr>
      <vt:lpstr>VA1</vt:lpstr>
      <vt:lpstr>1_VA1</vt:lpstr>
      <vt:lpstr>2_VA1</vt:lpstr>
      <vt:lpstr>think-cell Slide</vt:lpstr>
      <vt:lpstr> Status Brief Regarding the Impact of  18 U.S.C. § 209  on VA Research Programs</vt:lpstr>
      <vt:lpstr>Bottom Line Up Front</vt:lpstr>
      <vt:lpstr>Summary of Issue</vt:lpstr>
      <vt:lpstr> Section  7382: Cleland-Dole Act:  Legislative Solution on Outside Earned Income</vt:lpstr>
      <vt:lpstr>Agency Requirements to Implement Section 7382 of the Cleland-Dole Act </vt:lpstr>
      <vt:lpstr>Agency Requirements to Implement Section 7382 (cont.) </vt:lpstr>
      <vt:lpstr>Who Are the Primary Responsible Parties to Implement  VHA Notice 2023-09? </vt:lpstr>
      <vt:lpstr>Who Are the Primary Responsible Parties to Implement  VHA Notice 2023-09? (cont.)  </vt:lpstr>
      <vt:lpstr>Actions to Be Taken Now for Existing Projects: Step 1</vt:lpstr>
      <vt:lpstr>Actions to Be Taken Now for Existing Projects: Step 2 </vt:lpstr>
      <vt:lpstr>Sample Memo</vt:lpstr>
      <vt:lpstr>Actions to Be Taken Now for Existing Projects: Step 3​</vt:lpstr>
      <vt:lpstr>Actions to Be Taken for New Projects</vt:lpstr>
      <vt:lpstr>Demonstration</vt:lpstr>
      <vt:lpstr>Demonstration – Step 1</vt:lpstr>
      <vt:lpstr>Demonstration – Step 2</vt:lpstr>
      <vt:lpstr>Demonstration – Step 3</vt:lpstr>
      <vt:lpstr>Demonstration – Step 4</vt:lpstr>
      <vt:lpstr>Demonstration – Step 5</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us Brief Regarding the Impact of 18 U.S.C. 209 </dc:title>
  <dc:subject>Status Brief Regarding the Impact of 18 U.S.C. 209 </dc:subject>
  <dc:creator>VA ORD</dc:creator>
  <cp:keywords>Status Brief Regarding the Impact of 18 U.S.C. 209 </cp:keywords>
  <cp:lastModifiedBy>Rivera, Portia T</cp:lastModifiedBy>
  <cp:revision>12</cp:revision>
  <dcterms:created xsi:type="dcterms:W3CDTF">2022-01-07T15:46:04Z</dcterms:created>
  <dcterms:modified xsi:type="dcterms:W3CDTF">2023-12-26T14:5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9DC370A04394CAAC96DED1DC9A007</vt:lpwstr>
  </property>
</Properties>
</file>